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6"/>
  </p:notesMasterIdLst>
  <p:sldIdLst>
    <p:sldId id="2147473309" r:id="rId5"/>
    <p:sldId id="2147483627" r:id="rId6"/>
    <p:sldId id="2147473307" r:id="rId7"/>
    <p:sldId id="2147483580" r:id="rId8"/>
    <p:sldId id="2147473310" r:id="rId9"/>
    <p:sldId id="9016" r:id="rId10"/>
    <p:sldId id="2147483628" r:id="rId11"/>
    <p:sldId id="2147483583" r:id="rId12"/>
    <p:sldId id="2146848850" r:id="rId13"/>
    <p:sldId id="2147472964" r:id="rId14"/>
    <p:sldId id="2147483578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5" autoAdjust="0"/>
    <p:restoredTop sz="96357" autoAdjust="0"/>
  </p:normalViewPr>
  <p:slideViewPr>
    <p:cSldViewPr snapToGrid="0">
      <p:cViewPr varScale="1">
        <p:scale>
          <a:sx n="110" d="100"/>
          <a:sy n="110" d="100"/>
        </p:scale>
        <p:origin x="45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C087848-F18C-4847-B9E3-DC3EBF83D8BC}" type="doc">
      <dgm:prSet loTypeId="urn:microsoft.com/office/officeart/2005/8/layout/hierarchy1" loCatId="hierarchy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5CC91BB-A865-4678-82EC-5113D1E22D36}">
      <dgm:prSet phldrT="[Text]" custT="1"/>
      <dgm:spPr/>
      <dgm:t>
        <a:bodyPr/>
        <a:lstStyle/>
        <a:p>
          <a:pPr algn="ctr"/>
          <a:r>
            <a:rPr lang="en-US" sz="1400" b="1" dirty="0"/>
            <a:t>Sr VP, Facilities and Fleet Management</a:t>
          </a:r>
        </a:p>
      </dgm:t>
    </dgm:pt>
    <dgm:pt modelId="{707CF117-BF47-463C-B63D-36A193E0B1F8}" type="parTrans" cxnId="{72108526-5CFE-4F79-94EF-18BA64D2DA58}">
      <dgm:prSet/>
      <dgm:spPr/>
      <dgm:t>
        <a:bodyPr/>
        <a:lstStyle/>
        <a:p>
          <a:pPr algn="ctr"/>
          <a:endParaRPr lang="en-US" sz="2400"/>
        </a:p>
      </dgm:t>
    </dgm:pt>
    <dgm:pt modelId="{19CAC25A-8470-4EFC-9C29-E02B6B874570}" type="sibTrans" cxnId="{72108526-5CFE-4F79-94EF-18BA64D2DA58}">
      <dgm:prSet custT="1"/>
      <dgm:spPr/>
    </dgm:pt>
    <dgm:pt modelId="{A0636121-5A48-420B-A526-71BB2139D4FC}">
      <dgm:prSet phldrT="[Text]" custT="1"/>
      <dgm:spPr/>
      <dgm:t>
        <a:bodyPr/>
        <a:lstStyle/>
        <a:p>
          <a:pPr algn="ctr"/>
          <a:r>
            <a:rPr lang="en-US" sz="1400" b="1" dirty="0"/>
            <a:t>VP, Facilities</a:t>
          </a:r>
        </a:p>
      </dgm:t>
    </dgm:pt>
    <dgm:pt modelId="{5C1C9B55-CD7D-4F69-8783-E2DA0079AE65}" type="parTrans" cxnId="{40F1FB49-2529-40F7-B6C2-D003A82E2F34}">
      <dgm:prSet/>
      <dgm:spPr/>
      <dgm:t>
        <a:bodyPr/>
        <a:lstStyle/>
        <a:p>
          <a:pPr algn="ctr"/>
          <a:endParaRPr lang="en-US" sz="2400"/>
        </a:p>
      </dgm:t>
    </dgm:pt>
    <dgm:pt modelId="{D3D810C8-1203-43CE-A7AC-44547B54EAEB}" type="sibTrans" cxnId="{40F1FB49-2529-40F7-B6C2-D003A82E2F34}">
      <dgm:prSet custT="1"/>
      <dgm:spPr/>
    </dgm:pt>
    <dgm:pt modelId="{91152B99-9B1F-4EEF-BE42-0E9A8D4E2A76}">
      <dgm:prSet phldrT="[Text]" custT="1"/>
      <dgm:spPr/>
      <dgm:t>
        <a:bodyPr spcFirstLastPara="0" vert="horz" wrap="square" lIns="6985" tIns="6985" rIns="6985" bIns="80250" numCol="1" spcCol="1270" anchor="ctr" anchorCtr="0"/>
        <a:lstStyle/>
        <a:p>
          <a:pPr algn="ctr"/>
          <a:r>
            <a:rPr lang="en-US" sz="1400" b="1" kern="1200" dirty="0"/>
            <a:t>Director, </a:t>
          </a:r>
          <a:r>
            <a:rPr lang="en-US" sz="1400" b="1" kern="1200" dirty="0">
              <a:latin typeface="Arial" panose="020B0604020202020204"/>
              <a:ea typeface="+mn-ea"/>
              <a:cs typeface="+mn-cs"/>
            </a:rPr>
            <a:t>Fleet</a:t>
          </a:r>
          <a:r>
            <a:rPr lang="en-US" sz="1400" b="1" kern="1200" dirty="0"/>
            <a:t> Management</a:t>
          </a:r>
        </a:p>
      </dgm:t>
    </dgm:pt>
    <dgm:pt modelId="{269A38AE-E95E-4848-B302-A4F8592E416D}" type="parTrans" cxnId="{C049362D-F35F-4870-B79A-29B8048D9554}">
      <dgm:prSet/>
      <dgm:spPr/>
      <dgm:t>
        <a:bodyPr/>
        <a:lstStyle/>
        <a:p>
          <a:pPr algn="ctr"/>
          <a:endParaRPr lang="en-US" sz="2400"/>
        </a:p>
      </dgm:t>
    </dgm:pt>
    <dgm:pt modelId="{EE70547A-7BEE-49E4-B864-E05E3789C3B3}" type="sibTrans" cxnId="{C049362D-F35F-4870-B79A-29B8048D9554}">
      <dgm:prSet custT="1"/>
      <dgm:spPr/>
    </dgm:pt>
    <dgm:pt modelId="{7F1BFB89-A404-4817-847D-17F2FD5FF2E9}">
      <dgm:prSet phldrT="[Text]" custT="1"/>
      <dgm:spPr/>
      <dgm:t>
        <a:bodyPr/>
        <a:lstStyle/>
        <a:p>
          <a:pPr algn="ctr"/>
          <a:r>
            <a:rPr lang="en-US" sz="1400" b="1" dirty="0"/>
            <a:t>Director, NGDV Programs </a:t>
          </a:r>
        </a:p>
      </dgm:t>
    </dgm:pt>
    <dgm:pt modelId="{6A488703-076A-47C5-AB1E-A0414A945B96}" type="parTrans" cxnId="{CB8F583F-A006-4B8E-A302-5257BD74E30C}">
      <dgm:prSet/>
      <dgm:spPr/>
      <dgm:t>
        <a:bodyPr/>
        <a:lstStyle/>
        <a:p>
          <a:pPr algn="ctr"/>
          <a:endParaRPr lang="en-US" sz="2400"/>
        </a:p>
      </dgm:t>
    </dgm:pt>
    <dgm:pt modelId="{04C4B3F7-2882-4443-B86C-E60DE304F9DB}" type="sibTrans" cxnId="{CB8F583F-A006-4B8E-A302-5257BD74E30C}">
      <dgm:prSet custT="1"/>
      <dgm:spPr/>
    </dgm:pt>
    <dgm:pt modelId="{8229905F-2E3B-4BFD-BE04-71BCC5018FD7}">
      <dgm:prSet phldrT="[Text]" custT="1"/>
      <dgm:spPr/>
      <dgm:t>
        <a:bodyPr/>
        <a:lstStyle/>
        <a:p>
          <a:pPr algn="ctr"/>
          <a:r>
            <a:rPr lang="en-US" sz="1400" b="1" dirty="0"/>
            <a:t>Executive Manager, Fleet Strategy and Support</a:t>
          </a:r>
        </a:p>
      </dgm:t>
    </dgm:pt>
    <dgm:pt modelId="{BFB94B8C-EDA3-40D4-9480-D38F2376023C}" type="parTrans" cxnId="{5F6ABDF4-17C6-4E64-83AA-80FCCC3D3A73}">
      <dgm:prSet/>
      <dgm:spPr/>
      <dgm:t>
        <a:bodyPr/>
        <a:lstStyle/>
        <a:p>
          <a:pPr algn="ctr"/>
          <a:endParaRPr lang="en-US" sz="2400"/>
        </a:p>
      </dgm:t>
    </dgm:pt>
    <dgm:pt modelId="{75263EDE-2AAC-47F8-87E1-9EC60819A142}" type="sibTrans" cxnId="{5F6ABDF4-17C6-4E64-83AA-80FCCC3D3A73}">
      <dgm:prSet custT="1"/>
      <dgm:spPr/>
    </dgm:pt>
    <dgm:pt modelId="{016D7ABF-5162-4C43-98D1-C4F94137BFAE}">
      <dgm:prSet phldrT="[Text]" custT="1"/>
      <dgm:spPr/>
      <dgm:t>
        <a:bodyPr/>
        <a:lstStyle/>
        <a:p>
          <a:pPr algn="ctr"/>
          <a:r>
            <a:rPr lang="en-US" sz="1400" b="1" dirty="0"/>
            <a:t>Executive Manager, Fleet Operations</a:t>
          </a:r>
        </a:p>
      </dgm:t>
    </dgm:pt>
    <dgm:pt modelId="{C6A258A9-4DF2-48C3-BDE8-6A982F9B104E}" type="parTrans" cxnId="{9F428AB1-094A-41D9-82FB-6EA007A13989}">
      <dgm:prSet/>
      <dgm:spPr/>
      <dgm:t>
        <a:bodyPr/>
        <a:lstStyle/>
        <a:p>
          <a:pPr algn="ctr"/>
          <a:endParaRPr lang="en-US" sz="2400"/>
        </a:p>
      </dgm:t>
    </dgm:pt>
    <dgm:pt modelId="{31C6775B-1FF7-4EDF-B3BA-205FE0AE2F7E}" type="sibTrans" cxnId="{9F428AB1-094A-41D9-82FB-6EA007A13989}">
      <dgm:prSet custT="1"/>
      <dgm:spPr/>
    </dgm:pt>
    <dgm:pt modelId="{9314A173-EA17-4892-8816-71DFCD652F78}">
      <dgm:prSet phldrT="[Text]" custT="1"/>
      <dgm:spPr/>
      <dgm:t>
        <a:bodyPr/>
        <a:lstStyle/>
        <a:p>
          <a:pPr algn="ctr"/>
          <a:r>
            <a:rPr lang="en-US" sz="1400" b="1" dirty="0"/>
            <a:t>Fleet Operations Specialists</a:t>
          </a:r>
        </a:p>
      </dgm:t>
    </dgm:pt>
    <dgm:pt modelId="{B91D95B5-92DB-4B2B-B7F2-481A79C3FA65}" type="parTrans" cxnId="{2B235F58-1B56-4C82-BF95-7037ED60E549}">
      <dgm:prSet/>
      <dgm:spPr/>
      <dgm:t>
        <a:bodyPr/>
        <a:lstStyle/>
        <a:p>
          <a:pPr algn="ctr"/>
          <a:endParaRPr lang="en-US" sz="2400"/>
        </a:p>
      </dgm:t>
    </dgm:pt>
    <dgm:pt modelId="{7FDDDAF4-2B07-40B0-A59F-C8599AF5AF94}" type="sibTrans" cxnId="{2B235F58-1B56-4C82-BF95-7037ED60E549}">
      <dgm:prSet custT="1"/>
      <dgm:spPr/>
    </dgm:pt>
    <dgm:pt modelId="{50CDD494-AC65-4E27-BD8A-14982382F402}">
      <dgm:prSet phldrT="[Text]" custT="1"/>
      <dgm:spPr/>
      <dgm:t>
        <a:bodyPr/>
        <a:lstStyle/>
        <a:p>
          <a:pPr algn="ctr"/>
          <a:r>
            <a:rPr lang="en-US" sz="1400" b="1" dirty="0"/>
            <a:t>Sr. Fleet Operations Specialists</a:t>
          </a:r>
        </a:p>
      </dgm:t>
    </dgm:pt>
    <dgm:pt modelId="{5E0D327E-02DA-4910-94EA-8C1F1597803F}" type="parTrans" cxnId="{CED2FA98-0E56-49E8-87D2-F4DC1F456564}">
      <dgm:prSet/>
      <dgm:spPr/>
      <dgm:t>
        <a:bodyPr/>
        <a:lstStyle/>
        <a:p>
          <a:pPr algn="ctr"/>
          <a:endParaRPr lang="en-US" sz="2400"/>
        </a:p>
      </dgm:t>
    </dgm:pt>
    <dgm:pt modelId="{69A744E3-4072-481A-8C88-613AA29FCEED}" type="sibTrans" cxnId="{CED2FA98-0E56-49E8-87D2-F4DC1F456564}">
      <dgm:prSet custT="1"/>
      <dgm:spPr/>
    </dgm:pt>
    <dgm:pt modelId="{F255EB48-D217-49D4-8B46-BCF2981CC88F}">
      <dgm:prSet phldrT="[Text]" custT="1"/>
      <dgm:spPr/>
      <dgm:t>
        <a:bodyPr/>
        <a:lstStyle/>
        <a:p>
          <a:pPr algn="ctr"/>
          <a:r>
            <a:rPr lang="en-US" sz="1400" b="1" dirty="0"/>
            <a:t>Manager, Fleet Operations (Region)</a:t>
          </a:r>
        </a:p>
      </dgm:t>
    </dgm:pt>
    <dgm:pt modelId="{1FBDA954-1B10-485C-8B45-E10EA304D0E0}" type="parTrans" cxnId="{C0846565-1499-4D9C-8B91-B7EF47B9F545}">
      <dgm:prSet/>
      <dgm:spPr/>
      <dgm:t>
        <a:bodyPr/>
        <a:lstStyle/>
        <a:p>
          <a:pPr algn="ctr"/>
          <a:endParaRPr lang="en-US" sz="2400"/>
        </a:p>
      </dgm:t>
    </dgm:pt>
    <dgm:pt modelId="{2338EC59-DDB4-41CF-ADB3-1D7EF60277E4}" type="sibTrans" cxnId="{C0846565-1499-4D9C-8B91-B7EF47B9F545}">
      <dgm:prSet custT="1"/>
      <dgm:spPr/>
    </dgm:pt>
    <dgm:pt modelId="{3022AE45-03C8-43D8-8A74-28FB3DA1945F}">
      <dgm:prSet phldrT="[Text]" custT="1"/>
      <dgm:spPr/>
      <dgm:t>
        <a:bodyPr/>
        <a:lstStyle/>
        <a:p>
          <a:pPr algn="ctr"/>
          <a:r>
            <a:rPr lang="en-US" sz="1400" b="1" dirty="0"/>
            <a:t>Fleet Operations Specialists</a:t>
          </a:r>
        </a:p>
      </dgm:t>
    </dgm:pt>
    <dgm:pt modelId="{A844727E-37C4-4973-9557-A8A53966014B}" type="parTrans" cxnId="{603C6BFD-F069-4ED9-8D8D-9411480F0CA4}">
      <dgm:prSet/>
      <dgm:spPr/>
      <dgm:t>
        <a:bodyPr/>
        <a:lstStyle/>
        <a:p>
          <a:pPr algn="ctr"/>
          <a:endParaRPr lang="en-US" sz="2400"/>
        </a:p>
      </dgm:t>
    </dgm:pt>
    <dgm:pt modelId="{8DB78B97-8133-4638-AA94-7D4CFAF2F547}" type="sibTrans" cxnId="{603C6BFD-F069-4ED9-8D8D-9411480F0CA4}">
      <dgm:prSet custT="1"/>
      <dgm:spPr/>
    </dgm:pt>
    <dgm:pt modelId="{5A24138B-4A33-484C-BC3A-54698A804C05}">
      <dgm:prSet phldrT="[Text]" custT="1"/>
      <dgm:spPr/>
      <dgm:t>
        <a:bodyPr/>
        <a:lstStyle/>
        <a:p>
          <a:pPr algn="ctr"/>
          <a:r>
            <a:rPr lang="en-US" sz="1400" b="1" dirty="0"/>
            <a:t>Manager, Vehicle Operations</a:t>
          </a:r>
        </a:p>
      </dgm:t>
    </dgm:pt>
    <dgm:pt modelId="{9B1E9A3B-777E-4A98-ADDF-910428DC2863}" type="parTrans" cxnId="{9EC85C57-5BF0-4483-B04C-9E269DCFE6BA}">
      <dgm:prSet/>
      <dgm:spPr/>
      <dgm:t>
        <a:bodyPr/>
        <a:lstStyle/>
        <a:p>
          <a:pPr algn="ctr"/>
          <a:endParaRPr lang="en-US" sz="2400"/>
        </a:p>
      </dgm:t>
    </dgm:pt>
    <dgm:pt modelId="{267FF861-7638-4364-8C1F-7AF992CE6574}" type="sibTrans" cxnId="{9EC85C57-5BF0-4483-B04C-9E269DCFE6BA}">
      <dgm:prSet custT="1"/>
      <dgm:spPr/>
    </dgm:pt>
    <dgm:pt modelId="{6B2D7375-CEB6-4B57-8971-C5EBF2570CDA}">
      <dgm:prSet phldrT="[Text]" custT="1"/>
      <dgm:spPr/>
      <dgm:t>
        <a:bodyPr/>
        <a:lstStyle/>
        <a:p>
          <a:pPr algn="ctr"/>
          <a:r>
            <a:rPr lang="en-US" sz="1400" b="1" dirty="0"/>
            <a:t>VMF Groups</a:t>
          </a:r>
        </a:p>
      </dgm:t>
    </dgm:pt>
    <dgm:pt modelId="{542212C7-CA5A-452D-97D0-FAB5A5DD2BB4}" type="parTrans" cxnId="{6D50CF96-3A38-4C04-A12E-2A1514593144}">
      <dgm:prSet/>
      <dgm:spPr/>
      <dgm:t>
        <a:bodyPr/>
        <a:lstStyle/>
        <a:p>
          <a:pPr algn="ctr"/>
          <a:endParaRPr lang="en-US" sz="2400"/>
        </a:p>
      </dgm:t>
    </dgm:pt>
    <dgm:pt modelId="{EA34E7CE-B46F-456C-961A-3DC9C8ECCABE}" type="sibTrans" cxnId="{6D50CF96-3A38-4C04-A12E-2A1514593144}">
      <dgm:prSet custT="1"/>
      <dgm:spPr/>
    </dgm:pt>
    <dgm:pt modelId="{31C303B4-B95A-4D8E-8432-646429DA6647}" type="pres">
      <dgm:prSet presAssocID="{6C087848-F18C-4847-B9E3-DC3EBF83D8BC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1D2BB7B-EF40-48BF-9414-F3CF0359BDD2}" type="pres">
      <dgm:prSet presAssocID="{E5CC91BB-A865-4678-82EC-5113D1E22D36}" presName="hierRoot1" presStyleCnt="0"/>
      <dgm:spPr/>
    </dgm:pt>
    <dgm:pt modelId="{B6A2E9D9-FA75-4D03-A0B5-D5072F69A1B6}" type="pres">
      <dgm:prSet presAssocID="{E5CC91BB-A865-4678-82EC-5113D1E22D36}" presName="composite" presStyleCnt="0"/>
      <dgm:spPr/>
    </dgm:pt>
    <dgm:pt modelId="{229ACD2B-E03D-495E-855E-9482EEC018B8}" type="pres">
      <dgm:prSet presAssocID="{E5CC91BB-A865-4678-82EC-5113D1E22D36}" presName="background" presStyleLbl="node0" presStyleIdx="0" presStyleCnt="1"/>
      <dgm:spPr>
        <a:solidFill>
          <a:schemeClr val="bg2">
            <a:lumMod val="25000"/>
          </a:schemeClr>
        </a:solidFill>
      </dgm:spPr>
    </dgm:pt>
    <dgm:pt modelId="{387F19B9-A5B6-4968-991F-A1FD48427E71}" type="pres">
      <dgm:prSet presAssocID="{E5CC91BB-A865-4678-82EC-5113D1E22D36}" presName="text" presStyleLbl="fgAcc0" presStyleIdx="0" presStyleCnt="1" custScaleX="290223" custScaleY="151089">
        <dgm:presLayoutVars>
          <dgm:chPref val="3"/>
        </dgm:presLayoutVars>
      </dgm:prSet>
      <dgm:spPr/>
    </dgm:pt>
    <dgm:pt modelId="{9080D68E-5792-4885-88B8-A8B1D1134295}" type="pres">
      <dgm:prSet presAssocID="{E5CC91BB-A865-4678-82EC-5113D1E22D36}" presName="hierChild2" presStyleCnt="0"/>
      <dgm:spPr/>
    </dgm:pt>
    <dgm:pt modelId="{88976452-C63D-4E02-AEF3-BADB255E929B}" type="pres">
      <dgm:prSet presAssocID="{5C1C9B55-CD7D-4F69-8783-E2DA0079AE65}" presName="Name10" presStyleLbl="parChTrans1D2" presStyleIdx="0" presStyleCnt="3"/>
      <dgm:spPr/>
    </dgm:pt>
    <dgm:pt modelId="{E3106B85-2777-45F7-9074-783C3269DFBB}" type="pres">
      <dgm:prSet presAssocID="{A0636121-5A48-420B-A526-71BB2139D4FC}" presName="hierRoot2" presStyleCnt="0"/>
      <dgm:spPr/>
    </dgm:pt>
    <dgm:pt modelId="{FB02ECDA-1848-4E3C-A46C-190DA8989247}" type="pres">
      <dgm:prSet presAssocID="{A0636121-5A48-420B-A526-71BB2139D4FC}" presName="composite2" presStyleCnt="0"/>
      <dgm:spPr/>
    </dgm:pt>
    <dgm:pt modelId="{0DDECAD6-FA6B-47B2-92F4-03CE72459EAB}" type="pres">
      <dgm:prSet presAssocID="{A0636121-5A48-420B-A526-71BB2139D4FC}" presName="background2" presStyleLbl="node2" presStyleIdx="0" presStyleCnt="3"/>
      <dgm:spPr/>
    </dgm:pt>
    <dgm:pt modelId="{E5898CD4-E18A-4F55-921F-D5242D7CBD94}" type="pres">
      <dgm:prSet presAssocID="{A0636121-5A48-420B-A526-71BB2139D4FC}" presName="text2" presStyleLbl="fgAcc2" presStyleIdx="0" presStyleCnt="3" custScaleX="290223" custScaleY="151089" custLinFactX="-101737" custLinFactNeighborX="-200000" custLinFactNeighborY="-4555">
        <dgm:presLayoutVars>
          <dgm:chPref val="3"/>
        </dgm:presLayoutVars>
      </dgm:prSet>
      <dgm:spPr/>
    </dgm:pt>
    <dgm:pt modelId="{E31489EA-91EA-4316-99E8-DABAF5CCD6B3}" type="pres">
      <dgm:prSet presAssocID="{A0636121-5A48-420B-A526-71BB2139D4FC}" presName="hierChild3" presStyleCnt="0"/>
      <dgm:spPr/>
    </dgm:pt>
    <dgm:pt modelId="{5A3E54C8-49F3-4EB6-877B-3DCC294021E2}" type="pres">
      <dgm:prSet presAssocID="{269A38AE-E95E-4848-B302-A4F8592E416D}" presName="Name10" presStyleLbl="parChTrans1D2" presStyleIdx="1" presStyleCnt="3"/>
      <dgm:spPr/>
    </dgm:pt>
    <dgm:pt modelId="{F0F08134-161F-4174-BBCD-F523E12A0DA4}" type="pres">
      <dgm:prSet presAssocID="{91152B99-9B1F-4EEF-BE42-0E9A8D4E2A76}" presName="hierRoot2" presStyleCnt="0"/>
      <dgm:spPr/>
    </dgm:pt>
    <dgm:pt modelId="{B01BF81F-D499-4CE6-B2D1-35357148CACE}" type="pres">
      <dgm:prSet presAssocID="{91152B99-9B1F-4EEF-BE42-0E9A8D4E2A76}" presName="composite2" presStyleCnt="0"/>
      <dgm:spPr/>
    </dgm:pt>
    <dgm:pt modelId="{A4AE020D-9396-4940-8DD8-24632585B198}" type="pres">
      <dgm:prSet presAssocID="{91152B99-9B1F-4EEF-BE42-0E9A8D4E2A76}" presName="background2" presStyleLbl="node2" presStyleIdx="1" presStyleCnt="3"/>
      <dgm:spPr/>
    </dgm:pt>
    <dgm:pt modelId="{5E1BC112-D878-41CB-B88B-C9530E6B4CD5}" type="pres">
      <dgm:prSet presAssocID="{91152B99-9B1F-4EEF-BE42-0E9A8D4E2A76}" presName="text2" presStyleLbl="fgAcc2" presStyleIdx="1" presStyleCnt="3" custScaleX="290223" custScaleY="151089">
        <dgm:presLayoutVars>
          <dgm:chPref val="3"/>
        </dgm:presLayoutVars>
      </dgm:prSet>
      <dgm:spPr/>
    </dgm:pt>
    <dgm:pt modelId="{6A82FEE3-C630-4BA9-B269-419FE7E69D81}" type="pres">
      <dgm:prSet presAssocID="{91152B99-9B1F-4EEF-BE42-0E9A8D4E2A76}" presName="hierChild3" presStyleCnt="0"/>
      <dgm:spPr/>
    </dgm:pt>
    <dgm:pt modelId="{B9CD3DDC-C7B3-441B-8020-DF926844A591}" type="pres">
      <dgm:prSet presAssocID="{BFB94B8C-EDA3-40D4-9480-D38F2376023C}" presName="Name17" presStyleLbl="parChTrans1D3" presStyleIdx="0" presStyleCnt="2"/>
      <dgm:spPr/>
    </dgm:pt>
    <dgm:pt modelId="{079BDEA5-0C13-4B65-A430-297DF5AB1A30}" type="pres">
      <dgm:prSet presAssocID="{8229905F-2E3B-4BFD-BE04-71BCC5018FD7}" presName="hierRoot3" presStyleCnt="0"/>
      <dgm:spPr/>
    </dgm:pt>
    <dgm:pt modelId="{F3573667-8F28-454D-AB6B-779793BC2C5A}" type="pres">
      <dgm:prSet presAssocID="{8229905F-2E3B-4BFD-BE04-71BCC5018FD7}" presName="composite3" presStyleCnt="0"/>
      <dgm:spPr/>
    </dgm:pt>
    <dgm:pt modelId="{A95B4931-21CA-479D-AC99-92235EBC5BFB}" type="pres">
      <dgm:prSet presAssocID="{8229905F-2E3B-4BFD-BE04-71BCC5018FD7}" presName="background3" presStyleLbl="node3" presStyleIdx="0" presStyleCnt="2"/>
      <dgm:spPr>
        <a:solidFill>
          <a:schemeClr val="bg2">
            <a:lumMod val="75000"/>
          </a:schemeClr>
        </a:solidFill>
      </dgm:spPr>
    </dgm:pt>
    <dgm:pt modelId="{19B93D21-3A17-420A-A9B2-9FF95BCCBD15}" type="pres">
      <dgm:prSet presAssocID="{8229905F-2E3B-4BFD-BE04-71BCC5018FD7}" presName="text3" presStyleLbl="fgAcc3" presStyleIdx="0" presStyleCnt="2" custScaleX="290223" custScaleY="151089" custLinFactNeighborX="4415" custLinFactNeighborY="6644">
        <dgm:presLayoutVars>
          <dgm:chPref val="3"/>
        </dgm:presLayoutVars>
      </dgm:prSet>
      <dgm:spPr/>
    </dgm:pt>
    <dgm:pt modelId="{0DD31621-C7A3-4AFD-9D25-31F170294844}" type="pres">
      <dgm:prSet presAssocID="{8229905F-2E3B-4BFD-BE04-71BCC5018FD7}" presName="hierChild4" presStyleCnt="0"/>
      <dgm:spPr/>
    </dgm:pt>
    <dgm:pt modelId="{9F03F76A-7C3E-42C9-9BD0-CD8A9ECA5FB8}" type="pres">
      <dgm:prSet presAssocID="{B91D95B5-92DB-4B2B-B7F2-481A79C3FA65}" presName="Name23" presStyleLbl="parChTrans1D4" presStyleIdx="0" presStyleCnt="6"/>
      <dgm:spPr/>
    </dgm:pt>
    <dgm:pt modelId="{A6475B2C-5B86-43E7-AD45-0DB763771232}" type="pres">
      <dgm:prSet presAssocID="{9314A173-EA17-4892-8816-71DFCD652F78}" presName="hierRoot4" presStyleCnt="0"/>
      <dgm:spPr/>
    </dgm:pt>
    <dgm:pt modelId="{69B0E883-A9DD-49A6-A32C-B35AF7FE83C0}" type="pres">
      <dgm:prSet presAssocID="{9314A173-EA17-4892-8816-71DFCD652F78}" presName="composite4" presStyleCnt="0"/>
      <dgm:spPr/>
    </dgm:pt>
    <dgm:pt modelId="{422CB9CE-6BE3-41AC-A236-C7F7CCF09C5A}" type="pres">
      <dgm:prSet presAssocID="{9314A173-EA17-4892-8816-71DFCD652F78}" presName="background4" presStyleLbl="node4" presStyleIdx="0" presStyleCnt="6"/>
      <dgm:spPr>
        <a:solidFill>
          <a:schemeClr val="accent3">
            <a:lumMod val="60000"/>
            <a:lumOff val="40000"/>
          </a:schemeClr>
        </a:solidFill>
      </dgm:spPr>
    </dgm:pt>
    <dgm:pt modelId="{E8A70FFB-5663-41B7-9B91-649258CCACB3}" type="pres">
      <dgm:prSet presAssocID="{9314A173-EA17-4892-8816-71DFCD652F78}" presName="text4" presStyleLbl="fgAcc4" presStyleIdx="0" presStyleCnt="6" custScaleX="290223" custScaleY="151089" custLinFactNeighborX="558" custLinFactNeighborY="30363">
        <dgm:presLayoutVars>
          <dgm:chPref val="3"/>
        </dgm:presLayoutVars>
      </dgm:prSet>
      <dgm:spPr/>
    </dgm:pt>
    <dgm:pt modelId="{98E5BC70-7624-4C66-AEA5-F71668DDB1BC}" type="pres">
      <dgm:prSet presAssocID="{9314A173-EA17-4892-8816-71DFCD652F78}" presName="hierChild5" presStyleCnt="0"/>
      <dgm:spPr/>
    </dgm:pt>
    <dgm:pt modelId="{75AE056F-F915-4C8B-945D-C0AF3A95A475}" type="pres">
      <dgm:prSet presAssocID="{5E0D327E-02DA-4910-94EA-8C1F1597803F}" presName="Name23" presStyleLbl="parChTrans1D4" presStyleIdx="1" presStyleCnt="6"/>
      <dgm:spPr/>
    </dgm:pt>
    <dgm:pt modelId="{EB44AE9B-36A2-4E71-9A1B-0470460F6394}" type="pres">
      <dgm:prSet presAssocID="{50CDD494-AC65-4E27-BD8A-14982382F402}" presName="hierRoot4" presStyleCnt="0"/>
      <dgm:spPr/>
    </dgm:pt>
    <dgm:pt modelId="{1BCF6FE5-B6B2-4109-9F84-32FF3C3BDB6D}" type="pres">
      <dgm:prSet presAssocID="{50CDD494-AC65-4E27-BD8A-14982382F402}" presName="composite4" presStyleCnt="0"/>
      <dgm:spPr/>
    </dgm:pt>
    <dgm:pt modelId="{AB215625-E1C5-4034-9F97-CB1C46C66BEC}" type="pres">
      <dgm:prSet presAssocID="{50CDD494-AC65-4E27-BD8A-14982382F402}" presName="background4" presStyleLbl="node4" presStyleIdx="1" presStyleCnt="6"/>
      <dgm:spPr>
        <a:solidFill>
          <a:schemeClr val="accent3">
            <a:lumMod val="60000"/>
            <a:lumOff val="40000"/>
          </a:schemeClr>
        </a:solidFill>
      </dgm:spPr>
    </dgm:pt>
    <dgm:pt modelId="{E4320912-3389-4756-98DF-35D0EEC2FF25}" type="pres">
      <dgm:prSet presAssocID="{50CDD494-AC65-4E27-BD8A-14982382F402}" presName="text4" presStyleLbl="fgAcc4" presStyleIdx="1" presStyleCnt="6" custScaleX="290223" custScaleY="151089" custLinFactNeighborX="558" custLinFactNeighborY="30363">
        <dgm:presLayoutVars>
          <dgm:chPref val="3"/>
        </dgm:presLayoutVars>
      </dgm:prSet>
      <dgm:spPr/>
    </dgm:pt>
    <dgm:pt modelId="{4C8A34B4-72EA-4720-A174-9F629DCBABA5}" type="pres">
      <dgm:prSet presAssocID="{50CDD494-AC65-4E27-BD8A-14982382F402}" presName="hierChild5" presStyleCnt="0"/>
      <dgm:spPr/>
    </dgm:pt>
    <dgm:pt modelId="{5772CEBF-7399-4CC1-BE15-684C29B7FD20}" type="pres">
      <dgm:prSet presAssocID="{C6A258A9-4DF2-48C3-BDE8-6A982F9B104E}" presName="Name17" presStyleLbl="parChTrans1D3" presStyleIdx="1" presStyleCnt="2"/>
      <dgm:spPr/>
    </dgm:pt>
    <dgm:pt modelId="{64252845-055F-434C-A55A-891F747FAF06}" type="pres">
      <dgm:prSet presAssocID="{016D7ABF-5162-4C43-98D1-C4F94137BFAE}" presName="hierRoot3" presStyleCnt="0"/>
      <dgm:spPr/>
    </dgm:pt>
    <dgm:pt modelId="{4B0F24B4-A14C-4FB6-A19C-09AFF6979B24}" type="pres">
      <dgm:prSet presAssocID="{016D7ABF-5162-4C43-98D1-C4F94137BFAE}" presName="composite3" presStyleCnt="0"/>
      <dgm:spPr/>
    </dgm:pt>
    <dgm:pt modelId="{1A352209-96D3-4740-8BBB-ED90E4D4C753}" type="pres">
      <dgm:prSet presAssocID="{016D7ABF-5162-4C43-98D1-C4F94137BFAE}" presName="background3" presStyleLbl="node3" presStyleIdx="1" presStyleCnt="2"/>
      <dgm:spPr>
        <a:solidFill>
          <a:schemeClr val="bg2">
            <a:lumMod val="75000"/>
          </a:schemeClr>
        </a:solidFill>
      </dgm:spPr>
    </dgm:pt>
    <dgm:pt modelId="{570FB5A1-AE9C-44A8-9B85-C35802C33C10}" type="pres">
      <dgm:prSet presAssocID="{016D7ABF-5162-4C43-98D1-C4F94137BFAE}" presName="text3" presStyleLbl="fgAcc3" presStyleIdx="1" presStyleCnt="2" custScaleX="290223" custScaleY="151089" custLinFactNeighborX="26674" custLinFactNeighborY="7088">
        <dgm:presLayoutVars>
          <dgm:chPref val="3"/>
        </dgm:presLayoutVars>
      </dgm:prSet>
      <dgm:spPr/>
    </dgm:pt>
    <dgm:pt modelId="{B5900B15-350B-48C1-AB55-C1E72BDA592D}" type="pres">
      <dgm:prSet presAssocID="{016D7ABF-5162-4C43-98D1-C4F94137BFAE}" presName="hierChild4" presStyleCnt="0"/>
      <dgm:spPr/>
    </dgm:pt>
    <dgm:pt modelId="{E88FD9C4-621A-4628-A92E-8FF7BC9605DE}" type="pres">
      <dgm:prSet presAssocID="{1FBDA954-1B10-485C-8B45-E10EA304D0E0}" presName="Name23" presStyleLbl="parChTrans1D4" presStyleIdx="2" presStyleCnt="6"/>
      <dgm:spPr/>
    </dgm:pt>
    <dgm:pt modelId="{B8BF2BFE-8CF3-4A22-9E2D-31E3FD86C490}" type="pres">
      <dgm:prSet presAssocID="{F255EB48-D217-49D4-8B46-BCF2981CC88F}" presName="hierRoot4" presStyleCnt="0"/>
      <dgm:spPr/>
    </dgm:pt>
    <dgm:pt modelId="{12B94FE7-37BB-4DE8-A258-D163E2AFED60}" type="pres">
      <dgm:prSet presAssocID="{F255EB48-D217-49D4-8B46-BCF2981CC88F}" presName="composite4" presStyleCnt="0"/>
      <dgm:spPr/>
    </dgm:pt>
    <dgm:pt modelId="{57C94244-9899-48BF-A2E1-2B78634B52CB}" type="pres">
      <dgm:prSet presAssocID="{F255EB48-D217-49D4-8B46-BCF2981CC88F}" presName="background4" presStyleLbl="node4" presStyleIdx="2" presStyleCnt="6"/>
      <dgm:spPr>
        <a:solidFill>
          <a:schemeClr val="bg2">
            <a:lumMod val="90000"/>
          </a:schemeClr>
        </a:solidFill>
      </dgm:spPr>
    </dgm:pt>
    <dgm:pt modelId="{0F3E53C8-4096-40F5-B2D3-26CEB4AE58E7}" type="pres">
      <dgm:prSet presAssocID="{F255EB48-D217-49D4-8B46-BCF2981CC88F}" presName="text4" presStyleLbl="fgAcc4" presStyleIdx="2" presStyleCnt="6" custScaleX="290223" custScaleY="151089" custLinFactNeighborX="26675" custLinFactNeighborY="19496">
        <dgm:presLayoutVars>
          <dgm:chPref val="3"/>
        </dgm:presLayoutVars>
      </dgm:prSet>
      <dgm:spPr/>
    </dgm:pt>
    <dgm:pt modelId="{F3E7A3BE-A071-45C9-A588-CE634D786CA0}" type="pres">
      <dgm:prSet presAssocID="{F255EB48-D217-49D4-8B46-BCF2981CC88F}" presName="hierChild5" presStyleCnt="0"/>
      <dgm:spPr/>
    </dgm:pt>
    <dgm:pt modelId="{BE09C161-1D57-4181-823A-4E24048461E4}" type="pres">
      <dgm:prSet presAssocID="{9B1E9A3B-777E-4A98-ADDF-910428DC2863}" presName="Name23" presStyleLbl="parChTrans1D4" presStyleIdx="3" presStyleCnt="6"/>
      <dgm:spPr/>
    </dgm:pt>
    <dgm:pt modelId="{53518AEC-3A50-44D6-A49A-1B0F8AE69DB2}" type="pres">
      <dgm:prSet presAssocID="{5A24138B-4A33-484C-BC3A-54698A804C05}" presName="hierRoot4" presStyleCnt="0"/>
      <dgm:spPr/>
    </dgm:pt>
    <dgm:pt modelId="{6E79A0EA-4C6A-4475-82B0-552EBED9884E}" type="pres">
      <dgm:prSet presAssocID="{5A24138B-4A33-484C-BC3A-54698A804C05}" presName="composite4" presStyleCnt="0"/>
      <dgm:spPr/>
    </dgm:pt>
    <dgm:pt modelId="{158F2CD9-8BA2-4C27-88DE-2672D7078695}" type="pres">
      <dgm:prSet presAssocID="{5A24138B-4A33-484C-BC3A-54698A804C05}" presName="background4" presStyleLbl="node4" presStyleIdx="3" presStyleCnt="6"/>
      <dgm:spPr>
        <a:solidFill>
          <a:schemeClr val="bg2">
            <a:lumMod val="90000"/>
          </a:schemeClr>
        </a:solidFill>
      </dgm:spPr>
    </dgm:pt>
    <dgm:pt modelId="{23188C5E-3FF2-4586-A732-89606D4BF5F0}" type="pres">
      <dgm:prSet presAssocID="{5A24138B-4A33-484C-BC3A-54698A804C05}" presName="text4" presStyleLbl="fgAcc4" presStyleIdx="3" presStyleCnt="6" custScaleX="290223" custScaleY="151089" custLinFactNeighborX="23783" custLinFactNeighborY="6073">
        <dgm:presLayoutVars>
          <dgm:chPref val="3"/>
        </dgm:presLayoutVars>
      </dgm:prSet>
      <dgm:spPr/>
    </dgm:pt>
    <dgm:pt modelId="{1BD98ADC-9823-4386-802A-4391F320E020}" type="pres">
      <dgm:prSet presAssocID="{5A24138B-4A33-484C-BC3A-54698A804C05}" presName="hierChild5" presStyleCnt="0"/>
      <dgm:spPr/>
    </dgm:pt>
    <dgm:pt modelId="{DF324B20-F007-40FC-A475-FD131519CBC3}" type="pres">
      <dgm:prSet presAssocID="{542212C7-CA5A-452D-97D0-FAB5A5DD2BB4}" presName="Name23" presStyleLbl="parChTrans1D4" presStyleIdx="4" presStyleCnt="6"/>
      <dgm:spPr/>
    </dgm:pt>
    <dgm:pt modelId="{3965D0C2-A5A0-4D8B-A30E-B207E3F60C88}" type="pres">
      <dgm:prSet presAssocID="{6B2D7375-CEB6-4B57-8971-C5EBF2570CDA}" presName="hierRoot4" presStyleCnt="0"/>
      <dgm:spPr/>
    </dgm:pt>
    <dgm:pt modelId="{C6E9ECC1-093E-4D30-AEDA-C22D14470802}" type="pres">
      <dgm:prSet presAssocID="{6B2D7375-CEB6-4B57-8971-C5EBF2570CDA}" presName="composite4" presStyleCnt="0"/>
      <dgm:spPr/>
    </dgm:pt>
    <dgm:pt modelId="{FC77364A-FED1-4DBB-B89D-FE667892063A}" type="pres">
      <dgm:prSet presAssocID="{6B2D7375-CEB6-4B57-8971-C5EBF2570CDA}" presName="background4" presStyleLbl="node4" presStyleIdx="4" presStyleCnt="6"/>
      <dgm:spPr>
        <a:solidFill>
          <a:schemeClr val="bg2">
            <a:lumMod val="90000"/>
          </a:schemeClr>
        </a:solidFill>
      </dgm:spPr>
    </dgm:pt>
    <dgm:pt modelId="{FAE46EFB-606D-4D03-B460-859D6E524492}" type="pres">
      <dgm:prSet presAssocID="{6B2D7375-CEB6-4B57-8971-C5EBF2570CDA}" presName="text4" presStyleLbl="fgAcc4" presStyleIdx="4" presStyleCnt="6" custScaleX="290223" custScaleY="151089" custLinFactNeighborX="23782" custLinFactNeighborY="-3036">
        <dgm:presLayoutVars>
          <dgm:chPref val="3"/>
        </dgm:presLayoutVars>
      </dgm:prSet>
      <dgm:spPr/>
    </dgm:pt>
    <dgm:pt modelId="{412ED5C8-EC37-453D-B420-155A85A1B78E}" type="pres">
      <dgm:prSet presAssocID="{6B2D7375-CEB6-4B57-8971-C5EBF2570CDA}" presName="hierChild5" presStyleCnt="0"/>
      <dgm:spPr/>
    </dgm:pt>
    <dgm:pt modelId="{F58B7069-8900-46C1-B452-186C46AA2927}" type="pres">
      <dgm:prSet presAssocID="{A844727E-37C4-4973-9557-A8A53966014B}" presName="Name23" presStyleLbl="parChTrans1D4" presStyleIdx="5" presStyleCnt="6"/>
      <dgm:spPr/>
    </dgm:pt>
    <dgm:pt modelId="{8FF28468-C9B7-4E5A-A6E5-E4CF8D945F41}" type="pres">
      <dgm:prSet presAssocID="{3022AE45-03C8-43D8-8A74-28FB3DA1945F}" presName="hierRoot4" presStyleCnt="0"/>
      <dgm:spPr/>
    </dgm:pt>
    <dgm:pt modelId="{4AE8CAD3-8AA9-4D1B-9441-F950E3C7FAFC}" type="pres">
      <dgm:prSet presAssocID="{3022AE45-03C8-43D8-8A74-28FB3DA1945F}" presName="composite4" presStyleCnt="0"/>
      <dgm:spPr/>
    </dgm:pt>
    <dgm:pt modelId="{A8163283-3C6A-4724-8700-C81B33E4B175}" type="pres">
      <dgm:prSet presAssocID="{3022AE45-03C8-43D8-8A74-28FB3DA1945F}" presName="background4" presStyleLbl="node4" presStyleIdx="5" presStyleCnt="6"/>
      <dgm:spPr>
        <a:solidFill>
          <a:schemeClr val="accent3">
            <a:lumMod val="60000"/>
            <a:lumOff val="40000"/>
          </a:schemeClr>
        </a:solidFill>
      </dgm:spPr>
    </dgm:pt>
    <dgm:pt modelId="{6C75E691-A92C-4886-A05F-5006674634F2}" type="pres">
      <dgm:prSet presAssocID="{3022AE45-03C8-43D8-8A74-28FB3DA1945F}" presName="text4" presStyleLbl="fgAcc4" presStyleIdx="5" presStyleCnt="6" custScaleX="290223" custScaleY="151089" custLinFactNeighborX="26675" custLinFactNeighborY="19496">
        <dgm:presLayoutVars>
          <dgm:chPref val="3"/>
        </dgm:presLayoutVars>
      </dgm:prSet>
      <dgm:spPr/>
    </dgm:pt>
    <dgm:pt modelId="{442BD94B-8EED-446F-AB79-1D5A1C780AEF}" type="pres">
      <dgm:prSet presAssocID="{3022AE45-03C8-43D8-8A74-28FB3DA1945F}" presName="hierChild5" presStyleCnt="0"/>
      <dgm:spPr/>
    </dgm:pt>
    <dgm:pt modelId="{052343B4-9D03-46EF-81CE-127987468621}" type="pres">
      <dgm:prSet presAssocID="{6A488703-076A-47C5-AB1E-A0414A945B96}" presName="Name10" presStyleLbl="parChTrans1D2" presStyleIdx="2" presStyleCnt="3"/>
      <dgm:spPr/>
    </dgm:pt>
    <dgm:pt modelId="{35DC09DA-32A4-459D-9FE6-34648649964B}" type="pres">
      <dgm:prSet presAssocID="{7F1BFB89-A404-4817-847D-17F2FD5FF2E9}" presName="hierRoot2" presStyleCnt="0"/>
      <dgm:spPr/>
    </dgm:pt>
    <dgm:pt modelId="{E0A4F582-74C0-4E07-AF3F-49E9B39A72AB}" type="pres">
      <dgm:prSet presAssocID="{7F1BFB89-A404-4817-847D-17F2FD5FF2E9}" presName="composite2" presStyleCnt="0"/>
      <dgm:spPr/>
    </dgm:pt>
    <dgm:pt modelId="{DDE0DDD9-06DC-4427-AEA7-5818B93ACECB}" type="pres">
      <dgm:prSet presAssocID="{7F1BFB89-A404-4817-847D-17F2FD5FF2E9}" presName="background2" presStyleLbl="node2" presStyleIdx="2" presStyleCnt="3"/>
      <dgm:spPr/>
    </dgm:pt>
    <dgm:pt modelId="{4004A520-0843-4C70-BF9C-695E2344F3E6}" type="pres">
      <dgm:prSet presAssocID="{7F1BFB89-A404-4817-847D-17F2FD5FF2E9}" presName="text2" presStyleLbl="fgAcc2" presStyleIdx="2" presStyleCnt="3" custScaleX="290223" custScaleY="151089" custLinFactX="126802" custLinFactNeighborX="200000" custLinFactNeighborY="-4179">
        <dgm:presLayoutVars>
          <dgm:chPref val="3"/>
        </dgm:presLayoutVars>
      </dgm:prSet>
      <dgm:spPr/>
    </dgm:pt>
    <dgm:pt modelId="{93179537-0844-474F-B56C-152255A1D182}" type="pres">
      <dgm:prSet presAssocID="{7F1BFB89-A404-4817-847D-17F2FD5FF2E9}" presName="hierChild3" presStyleCnt="0"/>
      <dgm:spPr/>
    </dgm:pt>
  </dgm:ptLst>
  <dgm:cxnLst>
    <dgm:cxn modelId="{2ADEA300-C8F7-4339-A6FF-0D1BD60944D2}" type="presOf" srcId="{91152B99-9B1F-4EEF-BE42-0E9A8D4E2A76}" destId="{5E1BC112-D878-41CB-B88B-C9530E6B4CD5}" srcOrd="0" destOrd="0" presId="urn:microsoft.com/office/officeart/2005/8/layout/hierarchy1"/>
    <dgm:cxn modelId="{53655E02-835F-4083-8D3E-36066B2BDA7C}" type="presOf" srcId="{6B2D7375-CEB6-4B57-8971-C5EBF2570CDA}" destId="{FAE46EFB-606D-4D03-B460-859D6E524492}" srcOrd="0" destOrd="0" presId="urn:microsoft.com/office/officeart/2005/8/layout/hierarchy1"/>
    <dgm:cxn modelId="{B7BBA913-1B43-4CE7-863B-962EAB166BD4}" type="presOf" srcId="{269A38AE-E95E-4848-B302-A4F8592E416D}" destId="{5A3E54C8-49F3-4EB6-877B-3DCC294021E2}" srcOrd="0" destOrd="0" presId="urn:microsoft.com/office/officeart/2005/8/layout/hierarchy1"/>
    <dgm:cxn modelId="{6EA7B51C-73A8-40C8-BA50-C2CD2583FA35}" type="presOf" srcId="{A844727E-37C4-4973-9557-A8A53966014B}" destId="{F58B7069-8900-46C1-B452-186C46AA2927}" srcOrd="0" destOrd="0" presId="urn:microsoft.com/office/officeart/2005/8/layout/hierarchy1"/>
    <dgm:cxn modelId="{72108526-5CFE-4F79-94EF-18BA64D2DA58}" srcId="{6C087848-F18C-4847-B9E3-DC3EBF83D8BC}" destId="{E5CC91BB-A865-4678-82EC-5113D1E22D36}" srcOrd="0" destOrd="0" parTransId="{707CF117-BF47-463C-B63D-36A193E0B1F8}" sibTransId="{19CAC25A-8470-4EFC-9C29-E02B6B874570}"/>
    <dgm:cxn modelId="{C049362D-F35F-4870-B79A-29B8048D9554}" srcId="{E5CC91BB-A865-4678-82EC-5113D1E22D36}" destId="{91152B99-9B1F-4EEF-BE42-0E9A8D4E2A76}" srcOrd="1" destOrd="0" parTransId="{269A38AE-E95E-4848-B302-A4F8592E416D}" sibTransId="{EE70547A-7BEE-49E4-B864-E05E3789C3B3}"/>
    <dgm:cxn modelId="{CB8F583F-A006-4B8E-A302-5257BD74E30C}" srcId="{E5CC91BB-A865-4678-82EC-5113D1E22D36}" destId="{7F1BFB89-A404-4817-847D-17F2FD5FF2E9}" srcOrd="2" destOrd="0" parTransId="{6A488703-076A-47C5-AB1E-A0414A945B96}" sibTransId="{04C4B3F7-2882-4443-B86C-E60DE304F9DB}"/>
    <dgm:cxn modelId="{F889C943-18D0-4F45-AAD1-B919A55D43C4}" type="presOf" srcId="{BFB94B8C-EDA3-40D4-9480-D38F2376023C}" destId="{B9CD3DDC-C7B3-441B-8020-DF926844A591}" srcOrd="0" destOrd="0" presId="urn:microsoft.com/office/officeart/2005/8/layout/hierarchy1"/>
    <dgm:cxn modelId="{C0846565-1499-4D9C-8B91-B7EF47B9F545}" srcId="{016D7ABF-5162-4C43-98D1-C4F94137BFAE}" destId="{F255EB48-D217-49D4-8B46-BCF2981CC88F}" srcOrd="0" destOrd="0" parTransId="{1FBDA954-1B10-485C-8B45-E10EA304D0E0}" sibTransId="{2338EC59-DDB4-41CF-ADB3-1D7EF60277E4}"/>
    <dgm:cxn modelId="{6FC53B46-20EB-4C08-81F9-7424164A5C17}" type="presOf" srcId="{E5CC91BB-A865-4678-82EC-5113D1E22D36}" destId="{387F19B9-A5B6-4968-991F-A1FD48427E71}" srcOrd="0" destOrd="0" presId="urn:microsoft.com/office/officeart/2005/8/layout/hierarchy1"/>
    <dgm:cxn modelId="{40F1FB49-2529-40F7-B6C2-D003A82E2F34}" srcId="{E5CC91BB-A865-4678-82EC-5113D1E22D36}" destId="{A0636121-5A48-420B-A526-71BB2139D4FC}" srcOrd="0" destOrd="0" parTransId="{5C1C9B55-CD7D-4F69-8783-E2DA0079AE65}" sibTransId="{D3D810C8-1203-43CE-A7AC-44547B54EAEB}"/>
    <dgm:cxn modelId="{99CC6F4A-A052-4B0F-A630-15AE1675D1FB}" type="presOf" srcId="{5E0D327E-02DA-4910-94EA-8C1F1597803F}" destId="{75AE056F-F915-4C8B-945D-C0AF3A95A475}" srcOrd="0" destOrd="0" presId="urn:microsoft.com/office/officeart/2005/8/layout/hierarchy1"/>
    <dgm:cxn modelId="{760B864C-8AD5-41D9-B51E-26C2C569900C}" type="presOf" srcId="{6C087848-F18C-4847-B9E3-DC3EBF83D8BC}" destId="{31C303B4-B95A-4D8E-8432-646429DA6647}" srcOrd="0" destOrd="0" presId="urn:microsoft.com/office/officeart/2005/8/layout/hierarchy1"/>
    <dgm:cxn modelId="{D6C33A4D-DBB8-4A27-8B95-D342AF738BC7}" type="presOf" srcId="{9B1E9A3B-777E-4A98-ADDF-910428DC2863}" destId="{BE09C161-1D57-4181-823A-4E24048461E4}" srcOrd="0" destOrd="0" presId="urn:microsoft.com/office/officeart/2005/8/layout/hierarchy1"/>
    <dgm:cxn modelId="{2AC20275-80C6-42B1-9CF6-0503E66018D4}" type="presOf" srcId="{7F1BFB89-A404-4817-847D-17F2FD5FF2E9}" destId="{4004A520-0843-4C70-BF9C-695E2344F3E6}" srcOrd="0" destOrd="0" presId="urn:microsoft.com/office/officeart/2005/8/layout/hierarchy1"/>
    <dgm:cxn modelId="{57D83655-3526-4F75-93B0-2844EC13CCF4}" type="presOf" srcId="{8229905F-2E3B-4BFD-BE04-71BCC5018FD7}" destId="{19B93D21-3A17-420A-A9B2-9FF95BCCBD15}" srcOrd="0" destOrd="0" presId="urn:microsoft.com/office/officeart/2005/8/layout/hierarchy1"/>
    <dgm:cxn modelId="{4646C555-3BE5-47F6-AEAF-762CD0873675}" type="presOf" srcId="{6A488703-076A-47C5-AB1E-A0414A945B96}" destId="{052343B4-9D03-46EF-81CE-127987468621}" srcOrd="0" destOrd="0" presId="urn:microsoft.com/office/officeart/2005/8/layout/hierarchy1"/>
    <dgm:cxn modelId="{9EC85C57-5BF0-4483-B04C-9E269DCFE6BA}" srcId="{F255EB48-D217-49D4-8B46-BCF2981CC88F}" destId="{5A24138B-4A33-484C-BC3A-54698A804C05}" srcOrd="0" destOrd="0" parTransId="{9B1E9A3B-777E-4A98-ADDF-910428DC2863}" sibTransId="{267FF861-7638-4364-8C1F-7AF992CE6574}"/>
    <dgm:cxn modelId="{A4FCC957-28DA-4DC1-B992-7A69526703A4}" type="presOf" srcId="{50CDD494-AC65-4E27-BD8A-14982382F402}" destId="{E4320912-3389-4756-98DF-35D0EEC2FF25}" srcOrd="0" destOrd="0" presId="urn:microsoft.com/office/officeart/2005/8/layout/hierarchy1"/>
    <dgm:cxn modelId="{2B235F58-1B56-4C82-BF95-7037ED60E549}" srcId="{8229905F-2E3B-4BFD-BE04-71BCC5018FD7}" destId="{9314A173-EA17-4892-8816-71DFCD652F78}" srcOrd="0" destOrd="0" parTransId="{B91D95B5-92DB-4B2B-B7F2-481A79C3FA65}" sibTransId="{7FDDDAF4-2B07-40B0-A59F-C8599AF5AF94}"/>
    <dgm:cxn modelId="{41B2397F-AEB9-4AB4-990C-FBA88A5004D5}" type="presOf" srcId="{3022AE45-03C8-43D8-8A74-28FB3DA1945F}" destId="{6C75E691-A92C-4886-A05F-5006674634F2}" srcOrd="0" destOrd="0" presId="urn:microsoft.com/office/officeart/2005/8/layout/hierarchy1"/>
    <dgm:cxn modelId="{6E54A98B-C5FC-4077-BD2B-E37C2208F696}" type="presOf" srcId="{F255EB48-D217-49D4-8B46-BCF2981CC88F}" destId="{0F3E53C8-4096-40F5-B2D3-26CEB4AE58E7}" srcOrd="0" destOrd="0" presId="urn:microsoft.com/office/officeart/2005/8/layout/hierarchy1"/>
    <dgm:cxn modelId="{AC19A590-805D-4C0F-ACD6-2817921DB6AD}" type="presOf" srcId="{542212C7-CA5A-452D-97D0-FAB5A5DD2BB4}" destId="{DF324B20-F007-40FC-A475-FD131519CBC3}" srcOrd="0" destOrd="0" presId="urn:microsoft.com/office/officeart/2005/8/layout/hierarchy1"/>
    <dgm:cxn modelId="{B3C9B392-1288-4268-B5A0-4A05C0CA4A4C}" type="presOf" srcId="{1FBDA954-1B10-485C-8B45-E10EA304D0E0}" destId="{E88FD9C4-621A-4628-A92E-8FF7BC9605DE}" srcOrd="0" destOrd="0" presId="urn:microsoft.com/office/officeart/2005/8/layout/hierarchy1"/>
    <dgm:cxn modelId="{6D50CF96-3A38-4C04-A12E-2A1514593144}" srcId="{5A24138B-4A33-484C-BC3A-54698A804C05}" destId="{6B2D7375-CEB6-4B57-8971-C5EBF2570CDA}" srcOrd="0" destOrd="0" parTransId="{542212C7-CA5A-452D-97D0-FAB5A5DD2BB4}" sibTransId="{EA34E7CE-B46F-456C-961A-3DC9C8ECCABE}"/>
    <dgm:cxn modelId="{CED2FA98-0E56-49E8-87D2-F4DC1F456564}" srcId="{8229905F-2E3B-4BFD-BE04-71BCC5018FD7}" destId="{50CDD494-AC65-4E27-BD8A-14982382F402}" srcOrd="1" destOrd="0" parTransId="{5E0D327E-02DA-4910-94EA-8C1F1597803F}" sibTransId="{69A744E3-4072-481A-8C88-613AA29FCEED}"/>
    <dgm:cxn modelId="{C54424A5-84E4-4A36-8CBE-02FE0A2A86A9}" type="presOf" srcId="{016D7ABF-5162-4C43-98D1-C4F94137BFAE}" destId="{570FB5A1-AE9C-44A8-9B85-C35802C33C10}" srcOrd="0" destOrd="0" presId="urn:microsoft.com/office/officeart/2005/8/layout/hierarchy1"/>
    <dgm:cxn modelId="{45B2B2A6-969E-4DCA-AAD7-E299F3CF0D3F}" type="presOf" srcId="{B91D95B5-92DB-4B2B-B7F2-481A79C3FA65}" destId="{9F03F76A-7C3E-42C9-9BD0-CD8A9ECA5FB8}" srcOrd="0" destOrd="0" presId="urn:microsoft.com/office/officeart/2005/8/layout/hierarchy1"/>
    <dgm:cxn modelId="{9F428AB1-094A-41D9-82FB-6EA007A13989}" srcId="{91152B99-9B1F-4EEF-BE42-0E9A8D4E2A76}" destId="{016D7ABF-5162-4C43-98D1-C4F94137BFAE}" srcOrd="1" destOrd="0" parTransId="{C6A258A9-4DF2-48C3-BDE8-6A982F9B104E}" sibTransId="{31C6775B-1FF7-4EDF-B3BA-205FE0AE2F7E}"/>
    <dgm:cxn modelId="{CC8551B4-DDB2-4AC6-9B0B-63BC61BA7DD1}" type="presOf" srcId="{9314A173-EA17-4892-8816-71DFCD652F78}" destId="{E8A70FFB-5663-41B7-9B91-649258CCACB3}" srcOrd="0" destOrd="0" presId="urn:microsoft.com/office/officeart/2005/8/layout/hierarchy1"/>
    <dgm:cxn modelId="{BA9A6AC3-797E-47B8-9448-08A102AAA400}" type="presOf" srcId="{5A24138B-4A33-484C-BC3A-54698A804C05}" destId="{23188C5E-3FF2-4586-A732-89606D4BF5F0}" srcOrd="0" destOrd="0" presId="urn:microsoft.com/office/officeart/2005/8/layout/hierarchy1"/>
    <dgm:cxn modelId="{5FDA64D0-96B2-4C24-8F06-047112355FB1}" type="presOf" srcId="{5C1C9B55-CD7D-4F69-8783-E2DA0079AE65}" destId="{88976452-C63D-4E02-AEF3-BADB255E929B}" srcOrd="0" destOrd="0" presId="urn:microsoft.com/office/officeart/2005/8/layout/hierarchy1"/>
    <dgm:cxn modelId="{63FA7FD5-52A0-46A3-8545-1328E82666B1}" type="presOf" srcId="{C6A258A9-4DF2-48C3-BDE8-6A982F9B104E}" destId="{5772CEBF-7399-4CC1-BE15-684C29B7FD20}" srcOrd="0" destOrd="0" presId="urn:microsoft.com/office/officeart/2005/8/layout/hierarchy1"/>
    <dgm:cxn modelId="{ED11B0E4-518D-4B4E-8614-C5B76D1C5348}" type="presOf" srcId="{A0636121-5A48-420B-A526-71BB2139D4FC}" destId="{E5898CD4-E18A-4F55-921F-D5242D7CBD94}" srcOrd="0" destOrd="0" presId="urn:microsoft.com/office/officeart/2005/8/layout/hierarchy1"/>
    <dgm:cxn modelId="{5F6ABDF4-17C6-4E64-83AA-80FCCC3D3A73}" srcId="{91152B99-9B1F-4EEF-BE42-0E9A8D4E2A76}" destId="{8229905F-2E3B-4BFD-BE04-71BCC5018FD7}" srcOrd="0" destOrd="0" parTransId="{BFB94B8C-EDA3-40D4-9480-D38F2376023C}" sibTransId="{75263EDE-2AAC-47F8-87E1-9EC60819A142}"/>
    <dgm:cxn modelId="{603C6BFD-F069-4ED9-8D8D-9411480F0CA4}" srcId="{016D7ABF-5162-4C43-98D1-C4F94137BFAE}" destId="{3022AE45-03C8-43D8-8A74-28FB3DA1945F}" srcOrd="1" destOrd="0" parTransId="{A844727E-37C4-4973-9557-A8A53966014B}" sibTransId="{8DB78B97-8133-4638-AA94-7D4CFAF2F547}"/>
    <dgm:cxn modelId="{440E0441-A414-401D-B5EB-F2A520716C43}" type="presParOf" srcId="{31C303B4-B95A-4D8E-8432-646429DA6647}" destId="{F1D2BB7B-EF40-48BF-9414-F3CF0359BDD2}" srcOrd="0" destOrd="0" presId="urn:microsoft.com/office/officeart/2005/8/layout/hierarchy1"/>
    <dgm:cxn modelId="{9A5C6AF6-B8D5-43E2-A9BD-C7E9E6AC0406}" type="presParOf" srcId="{F1D2BB7B-EF40-48BF-9414-F3CF0359BDD2}" destId="{B6A2E9D9-FA75-4D03-A0B5-D5072F69A1B6}" srcOrd="0" destOrd="0" presId="urn:microsoft.com/office/officeart/2005/8/layout/hierarchy1"/>
    <dgm:cxn modelId="{9BBEC1D8-FA57-4FF5-A93A-0386C933C231}" type="presParOf" srcId="{B6A2E9D9-FA75-4D03-A0B5-D5072F69A1B6}" destId="{229ACD2B-E03D-495E-855E-9482EEC018B8}" srcOrd="0" destOrd="0" presId="urn:microsoft.com/office/officeart/2005/8/layout/hierarchy1"/>
    <dgm:cxn modelId="{634D8CC9-C8ED-4CEB-9E9C-433293ED7216}" type="presParOf" srcId="{B6A2E9D9-FA75-4D03-A0B5-D5072F69A1B6}" destId="{387F19B9-A5B6-4968-991F-A1FD48427E71}" srcOrd="1" destOrd="0" presId="urn:microsoft.com/office/officeart/2005/8/layout/hierarchy1"/>
    <dgm:cxn modelId="{C04D6146-E567-447A-BB78-A6183CC2AFFE}" type="presParOf" srcId="{F1D2BB7B-EF40-48BF-9414-F3CF0359BDD2}" destId="{9080D68E-5792-4885-88B8-A8B1D1134295}" srcOrd="1" destOrd="0" presId="urn:microsoft.com/office/officeart/2005/8/layout/hierarchy1"/>
    <dgm:cxn modelId="{D32861BC-70E8-4F06-84D8-0135BF0B3F05}" type="presParOf" srcId="{9080D68E-5792-4885-88B8-A8B1D1134295}" destId="{88976452-C63D-4E02-AEF3-BADB255E929B}" srcOrd="0" destOrd="0" presId="urn:microsoft.com/office/officeart/2005/8/layout/hierarchy1"/>
    <dgm:cxn modelId="{5202BE59-1176-46B6-8DCB-7B3B01A858EA}" type="presParOf" srcId="{9080D68E-5792-4885-88B8-A8B1D1134295}" destId="{E3106B85-2777-45F7-9074-783C3269DFBB}" srcOrd="1" destOrd="0" presId="urn:microsoft.com/office/officeart/2005/8/layout/hierarchy1"/>
    <dgm:cxn modelId="{99A8D03A-7F30-40EB-B1E7-08F3189F076E}" type="presParOf" srcId="{E3106B85-2777-45F7-9074-783C3269DFBB}" destId="{FB02ECDA-1848-4E3C-A46C-190DA8989247}" srcOrd="0" destOrd="0" presId="urn:microsoft.com/office/officeart/2005/8/layout/hierarchy1"/>
    <dgm:cxn modelId="{A03B16E5-7FF1-4C29-8CD4-049D2E5916DB}" type="presParOf" srcId="{FB02ECDA-1848-4E3C-A46C-190DA8989247}" destId="{0DDECAD6-FA6B-47B2-92F4-03CE72459EAB}" srcOrd="0" destOrd="0" presId="urn:microsoft.com/office/officeart/2005/8/layout/hierarchy1"/>
    <dgm:cxn modelId="{82EAA0EC-502F-4D38-9B01-8012936859AF}" type="presParOf" srcId="{FB02ECDA-1848-4E3C-A46C-190DA8989247}" destId="{E5898CD4-E18A-4F55-921F-D5242D7CBD94}" srcOrd="1" destOrd="0" presId="urn:microsoft.com/office/officeart/2005/8/layout/hierarchy1"/>
    <dgm:cxn modelId="{B286B938-16A6-443F-BD92-2BA80D41879F}" type="presParOf" srcId="{E3106B85-2777-45F7-9074-783C3269DFBB}" destId="{E31489EA-91EA-4316-99E8-DABAF5CCD6B3}" srcOrd="1" destOrd="0" presId="urn:microsoft.com/office/officeart/2005/8/layout/hierarchy1"/>
    <dgm:cxn modelId="{D27F7E62-0DFE-4446-A3EE-8394E73B8617}" type="presParOf" srcId="{9080D68E-5792-4885-88B8-A8B1D1134295}" destId="{5A3E54C8-49F3-4EB6-877B-3DCC294021E2}" srcOrd="2" destOrd="0" presId="urn:microsoft.com/office/officeart/2005/8/layout/hierarchy1"/>
    <dgm:cxn modelId="{FA3CB4DE-CDB0-42D5-8C68-81FE1F85A142}" type="presParOf" srcId="{9080D68E-5792-4885-88B8-A8B1D1134295}" destId="{F0F08134-161F-4174-BBCD-F523E12A0DA4}" srcOrd="3" destOrd="0" presId="urn:microsoft.com/office/officeart/2005/8/layout/hierarchy1"/>
    <dgm:cxn modelId="{C46E4567-8795-4412-8EAF-69D9071F9C72}" type="presParOf" srcId="{F0F08134-161F-4174-BBCD-F523E12A0DA4}" destId="{B01BF81F-D499-4CE6-B2D1-35357148CACE}" srcOrd="0" destOrd="0" presId="urn:microsoft.com/office/officeart/2005/8/layout/hierarchy1"/>
    <dgm:cxn modelId="{1A06D9ED-AC4E-4B3C-B8B1-F9506058BB71}" type="presParOf" srcId="{B01BF81F-D499-4CE6-B2D1-35357148CACE}" destId="{A4AE020D-9396-4940-8DD8-24632585B198}" srcOrd="0" destOrd="0" presId="urn:microsoft.com/office/officeart/2005/8/layout/hierarchy1"/>
    <dgm:cxn modelId="{D226FA7C-BEA7-4C48-83FE-1DB80FEACBCD}" type="presParOf" srcId="{B01BF81F-D499-4CE6-B2D1-35357148CACE}" destId="{5E1BC112-D878-41CB-B88B-C9530E6B4CD5}" srcOrd="1" destOrd="0" presId="urn:microsoft.com/office/officeart/2005/8/layout/hierarchy1"/>
    <dgm:cxn modelId="{3E7A8359-718F-467D-B5FA-39BDC13800D1}" type="presParOf" srcId="{F0F08134-161F-4174-BBCD-F523E12A0DA4}" destId="{6A82FEE3-C630-4BA9-B269-419FE7E69D81}" srcOrd="1" destOrd="0" presId="urn:microsoft.com/office/officeart/2005/8/layout/hierarchy1"/>
    <dgm:cxn modelId="{9ED5875B-3974-409B-ADCB-EF77955F3617}" type="presParOf" srcId="{6A82FEE3-C630-4BA9-B269-419FE7E69D81}" destId="{B9CD3DDC-C7B3-441B-8020-DF926844A591}" srcOrd="0" destOrd="0" presId="urn:microsoft.com/office/officeart/2005/8/layout/hierarchy1"/>
    <dgm:cxn modelId="{CE761BA0-2B34-495E-9B7C-5DBFB1E228E5}" type="presParOf" srcId="{6A82FEE3-C630-4BA9-B269-419FE7E69D81}" destId="{079BDEA5-0C13-4B65-A430-297DF5AB1A30}" srcOrd="1" destOrd="0" presId="urn:microsoft.com/office/officeart/2005/8/layout/hierarchy1"/>
    <dgm:cxn modelId="{920A98DA-8A6E-4E11-A7CE-7AED33E26031}" type="presParOf" srcId="{079BDEA5-0C13-4B65-A430-297DF5AB1A30}" destId="{F3573667-8F28-454D-AB6B-779793BC2C5A}" srcOrd="0" destOrd="0" presId="urn:microsoft.com/office/officeart/2005/8/layout/hierarchy1"/>
    <dgm:cxn modelId="{CE758CBF-0661-4A3E-90D9-31B1E8E823FD}" type="presParOf" srcId="{F3573667-8F28-454D-AB6B-779793BC2C5A}" destId="{A95B4931-21CA-479D-AC99-92235EBC5BFB}" srcOrd="0" destOrd="0" presId="urn:microsoft.com/office/officeart/2005/8/layout/hierarchy1"/>
    <dgm:cxn modelId="{F9EF770D-C2E8-44FD-A29D-64A4E770C084}" type="presParOf" srcId="{F3573667-8F28-454D-AB6B-779793BC2C5A}" destId="{19B93D21-3A17-420A-A9B2-9FF95BCCBD15}" srcOrd="1" destOrd="0" presId="urn:microsoft.com/office/officeart/2005/8/layout/hierarchy1"/>
    <dgm:cxn modelId="{75BC6C70-4CA7-4E48-8EC5-BD0184941E8C}" type="presParOf" srcId="{079BDEA5-0C13-4B65-A430-297DF5AB1A30}" destId="{0DD31621-C7A3-4AFD-9D25-31F170294844}" srcOrd="1" destOrd="0" presId="urn:microsoft.com/office/officeart/2005/8/layout/hierarchy1"/>
    <dgm:cxn modelId="{DA7DA9B0-3AAF-4FEC-9597-ACED5B5AA9D6}" type="presParOf" srcId="{0DD31621-C7A3-4AFD-9D25-31F170294844}" destId="{9F03F76A-7C3E-42C9-9BD0-CD8A9ECA5FB8}" srcOrd="0" destOrd="0" presId="urn:microsoft.com/office/officeart/2005/8/layout/hierarchy1"/>
    <dgm:cxn modelId="{1F361839-638C-4A3C-96AD-558F0F18DA4C}" type="presParOf" srcId="{0DD31621-C7A3-4AFD-9D25-31F170294844}" destId="{A6475B2C-5B86-43E7-AD45-0DB763771232}" srcOrd="1" destOrd="0" presId="urn:microsoft.com/office/officeart/2005/8/layout/hierarchy1"/>
    <dgm:cxn modelId="{E64EAD3D-C461-478F-B604-B0A4E5A1A4DB}" type="presParOf" srcId="{A6475B2C-5B86-43E7-AD45-0DB763771232}" destId="{69B0E883-A9DD-49A6-A32C-B35AF7FE83C0}" srcOrd="0" destOrd="0" presId="urn:microsoft.com/office/officeart/2005/8/layout/hierarchy1"/>
    <dgm:cxn modelId="{4D3C9CD3-5632-46AC-BEA1-7BEE0982F3D6}" type="presParOf" srcId="{69B0E883-A9DD-49A6-A32C-B35AF7FE83C0}" destId="{422CB9CE-6BE3-41AC-A236-C7F7CCF09C5A}" srcOrd="0" destOrd="0" presId="urn:microsoft.com/office/officeart/2005/8/layout/hierarchy1"/>
    <dgm:cxn modelId="{C48C8F6D-88B7-4656-A4E3-6BD77FBED7B5}" type="presParOf" srcId="{69B0E883-A9DD-49A6-A32C-B35AF7FE83C0}" destId="{E8A70FFB-5663-41B7-9B91-649258CCACB3}" srcOrd="1" destOrd="0" presId="urn:microsoft.com/office/officeart/2005/8/layout/hierarchy1"/>
    <dgm:cxn modelId="{CFCC78D5-3CC3-4E47-88F8-23F3FEE0481C}" type="presParOf" srcId="{A6475B2C-5B86-43E7-AD45-0DB763771232}" destId="{98E5BC70-7624-4C66-AEA5-F71668DDB1BC}" srcOrd="1" destOrd="0" presId="urn:microsoft.com/office/officeart/2005/8/layout/hierarchy1"/>
    <dgm:cxn modelId="{FD787EA1-FE70-4305-9175-2FA219625BBD}" type="presParOf" srcId="{0DD31621-C7A3-4AFD-9D25-31F170294844}" destId="{75AE056F-F915-4C8B-945D-C0AF3A95A475}" srcOrd="2" destOrd="0" presId="urn:microsoft.com/office/officeart/2005/8/layout/hierarchy1"/>
    <dgm:cxn modelId="{7FF1F43B-5AB4-4AED-B5B4-30CDB33BACE6}" type="presParOf" srcId="{0DD31621-C7A3-4AFD-9D25-31F170294844}" destId="{EB44AE9B-36A2-4E71-9A1B-0470460F6394}" srcOrd="3" destOrd="0" presId="urn:microsoft.com/office/officeart/2005/8/layout/hierarchy1"/>
    <dgm:cxn modelId="{C50EC20C-AB51-49FC-8BC6-F049AF4A3069}" type="presParOf" srcId="{EB44AE9B-36A2-4E71-9A1B-0470460F6394}" destId="{1BCF6FE5-B6B2-4109-9F84-32FF3C3BDB6D}" srcOrd="0" destOrd="0" presId="urn:microsoft.com/office/officeart/2005/8/layout/hierarchy1"/>
    <dgm:cxn modelId="{7A6C57E3-6148-484B-94C8-CE076F51B109}" type="presParOf" srcId="{1BCF6FE5-B6B2-4109-9F84-32FF3C3BDB6D}" destId="{AB215625-E1C5-4034-9F97-CB1C46C66BEC}" srcOrd="0" destOrd="0" presId="urn:microsoft.com/office/officeart/2005/8/layout/hierarchy1"/>
    <dgm:cxn modelId="{266A88CB-4506-4196-A180-7808DB3C4B50}" type="presParOf" srcId="{1BCF6FE5-B6B2-4109-9F84-32FF3C3BDB6D}" destId="{E4320912-3389-4756-98DF-35D0EEC2FF25}" srcOrd="1" destOrd="0" presId="urn:microsoft.com/office/officeart/2005/8/layout/hierarchy1"/>
    <dgm:cxn modelId="{973812E5-8EDD-4C57-9CC7-9883E6A3685E}" type="presParOf" srcId="{EB44AE9B-36A2-4E71-9A1B-0470460F6394}" destId="{4C8A34B4-72EA-4720-A174-9F629DCBABA5}" srcOrd="1" destOrd="0" presId="urn:microsoft.com/office/officeart/2005/8/layout/hierarchy1"/>
    <dgm:cxn modelId="{2448928C-C0FF-403C-9EAB-32407440C64A}" type="presParOf" srcId="{6A82FEE3-C630-4BA9-B269-419FE7E69D81}" destId="{5772CEBF-7399-4CC1-BE15-684C29B7FD20}" srcOrd="2" destOrd="0" presId="urn:microsoft.com/office/officeart/2005/8/layout/hierarchy1"/>
    <dgm:cxn modelId="{2D92F412-1DDE-46F0-A34C-C423849D76B3}" type="presParOf" srcId="{6A82FEE3-C630-4BA9-B269-419FE7E69D81}" destId="{64252845-055F-434C-A55A-891F747FAF06}" srcOrd="3" destOrd="0" presId="urn:microsoft.com/office/officeart/2005/8/layout/hierarchy1"/>
    <dgm:cxn modelId="{84759B9A-79B1-4126-9CD6-89241F04F23A}" type="presParOf" srcId="{64252845-055F-434C-A55A-891F747FAF06}" destId="{4B0F24B4-A14C-4FB6-A19C-09AFF6979B24}" srcOrd="0" destOrd="0" presId="urn:microsoft.com/office/officeart/2005/8/layout/hierarchy1"/>
    <dgm:cxn modelId="{F61D9CBF-72AE-4E86-BCB4-A50422C9A88D}" type="presParOf" srcId="{4B0F24B4-A14C-4FB6-A19C-09AFF6979B24}" destId="{1A352209-96D3-4740-8BBB-ED90E4D4C753}" srcOrd="0" destOrd="0" presId="urn:microsoft.com/office/officeart/2005/8/layout/hierarchy1"/>
    <dgm:cxn modelId="{F0470629-C2BC-41A2-BB87-52CEA033F928}" type="presParOf" srcId="{4B0F24B4-A14C-4FB6-A19C-09AFF6979B24}" destId="{570FB5A1-AE9C-44A8-9B85-C35802C33C10}" srcOrd="1" destOrd="0" presId="urn:microsoft.com/office/officeart/2005/8/layout/hierarchy1"/>
    <dgm:cxn modelId="{FAC14BAE-1171-4216-8022-59C0091B17A1}" type="presParOf" srcId="{64252845-055F-434C-A55A-891F747FAF06}" destId="{B5900B15-350B-48C1-AB55-C1E72BDA592D}" srcOrd="1" destOrd="0" presId="urn:microsoft.com/office/officeart/2005/8/layout/hierarchy1"/>
    <dgm:cxn modelId="{22BDDF3E-4D87-4F3E-80BA-F9B943D10C89}" type="presParOf" srcId="{B5900B15-350B-48C1-AB55-C1E72BDA592D}" destId="{E88FD9C4-621A-4628-A92E-8FF7BC9605DE}" srcOrd="0" destOrd="0" presId="urn:microsoft.com/office/officeart/2005/8/layout/hierarchy1"/>
    <dgm:cxn modelId="{36A8A927-AB09-4729-8727-C5F57734ADD7}" type="presParOf" srcId="{B5900B15-350B-48C1-AB55-C1E72BDA592D}" destId="{B8BF2BFE-8CF3-4A22-9E2D-31E3FD86C490}" srcOrd="1" destOrd="0" presId="urn:microsoft.com/office/officeart/2005/8/layout/hierarchy1"/>
    <dgm:cxn modelId="{048C30E9-9DE4-4105-B683-67F6DAFBA48E}" type="presParOf" srcId="{B8BF2BFE-8CF3-4A22-9E2D-31E3FD86C490}" destId="{12B94FE7-37BB-4DE8-A258-D163E2AFED60}" srcOrd="0" destOrd="0" presId="urn:microsoft.com/office/officeart/2005/8/layout/hierarchy1"/>
    <dgm:cxn modelId="{C4CED04F-EFA9-4B97-BD55-F29AA3986B32}" type="presParOf" srcId="{12B94FE7-37BB-4DE8-A258-D163E2AFED60}" destId="{57C94244-9899-48BF-A2E1-2B78634B52CB}" srcOrd="0" destOrd="0" presId="urn:microsoft.com/office/officeart/2005/8/layout/hierarchy1"/>
    <dgm:cxn modelId="{FE8113E4-58EC-4C96-A750-45D876A975D9}" type="presParOf" srcId="{12B94FE7-37BB-4DE8-A258-D163E2AFED60}" destId="{0F3E53C8-4096-40F5-B2D3-26CEB4AE58E7}" srcOrd="1" destOrd="0" presId="urn:microsoft.com/office/officeart/2005/8/layout/hierarchy1"/>
    <dgm:cxn modelId="{8F65632D-F2DA-42DF-AEFC-B4251A9F2970}" type="presParOf" srcId="{B8BF2BFE-8CF3-4A22-9E2D-31E3FD86C490}" destId="{F3E7A3BE-A071-45C9-A588-CE634D786CA0}" srcOrd="1" destOrd="0" presId="urn:microsoft.com/office/officeart/2005/8/layout/hierarchy1"/>
    <dgm:cxn modelId="{D55B3C4A-1660-4C16-9D2D-3BED94CC39B3}" type="presParOf" srcId="{F3E7A3BE-A071-45C9-A588-CE634D786CA0}" destId="{BE09C161-1D57-4181-823A-4E24048461E4}" srcOrd="0" destOrd="0" presId="urn:microsoft.com/office/officeart/2005/8/layout/hierarchy1"/>
    <dgm:cxn modelId="{2373FD69-AED8-497D-94E4-7E814783EE8E}" type="presParOf" srcId="{F3E7A3BE-A071-45C9-A588-CE634D786CA0}" destId="{53518AEC-3A50-44D6-A49A-1B0F8AE69DB2}" srcOrd="1" destOrd="0" presId="urn:microsoft.com/office/officeart/2005/8/layout/hierarchy1"/>
    <dgm:cxn modelId="{E530E33F-B387-4C45-A74F-EAEAE74D4B66}" type="presParOf" srcId="{53518AEC-3A50-44D6-A49A-1B0F8AE69DB2}" destId="{6E79A0EA-4C6A-4475-82B0-552EBED9884E}" srcOrd="0" destOrd="0" presId="urn:microsoft.com/office/officeart/2005/8/layout/hierarchy1"/>
    <dgm:cxn modelId="{22FC72EB-539C-45C3-A751-C6A758F3A241}" type="presParOf" srcId="{6E79A0EA-4C6A-4475-82B0-552EBED9884E}" destId="{158F2CD9-8BA2-4C27-88DE-2672D7078695}" srcOrd="0" destOrd="0" presId="urn:microsoft.com/office/officeart/2005/8/layout/hierarchy1"/>
    <dgm:cxn modelId="{AA2A4E16-0333-4F8D-8B85-DA79B72FFBD6}" type="presParOf" srcId="{6E79A0EA-4C6A-4475-82B0-552EBED9884E}" destId="{23188C5E-3FF2-4586-A732-89606D4BF5F0}" srcOrd="1" destOrd="0" presId="urn:microsoft.com/office/officeart/2005/8/layout/hierarchy1"/>
    <dgm:cxn modelId="{E4F14706-2EB2-436F-A96C-462C37C6D2F3}" type="presParOf" srcId="{53518AEC-3A50-44D6-A49A-1B0F8AE69DB2}" destId="{1BD98ADC-9823-4386-802A-4391F320E020}" srcOrd="1" destOrd="0" presId="urn:microsoft.com/office/officeart/2005/8/layout/hierarchy1"/>
    <dgm:cxn modelId="{7DF06CC2-8B01-481B-9817-8ECA62488218}" type="presParOf" srcId="{1BD98ADC-9823-4386-802A-4391F320E020}" destId="{DF324B20-F007-40FC-A475-FD131519CBC3}" srcOrd="0" destOrd="0" presId="urn:microsoft.com/office/officeart/2005/8/layout/hierarchy1"/>
    <dgm:cxn modelId="{DD0F158F-732D-49DC-BC3F-6134A184D40E}" type="presParOf" srcId="{1BD98ADC-9823-4386-802A-4391F320E020}" destId="{3965D0C2-A5A0-4D8B-A30E-B207E3F60C88}" srcOrd="1" destOrd="0" presId="urn:microsoft.com/office/officeart/2005/8/layout/hierarchy1"/>
    <dgm:cxn modelId="{BC88215D-63A7-44DD-825B-CFA17B6D017C}" type="presParOf" srcId="{3965D0C2-A5A0-4D8B-A30E-B207E3F60C88}" destId="{C6E9ECC1-093E-4D30-AEDA-C22D14470802}" srcOrd="0" destOrd="0" presId="urn:microsoft.com/office/officeart/2005/8/layout/hierarchy1"/>
    <dgm:cxn modelId="{8C1170E8-534A-4114-9F26-B29EEED1145D}" type="presParOf" srcId="{C6E9ECC1-093E-4D30-AEDA-C22D14470802}" destId="{FC77364A-FED1-4DBB-B89D-FE667892063A}" srcOrd="0" destOrd="0" presId="urn:microsoft.com/office/officeart/2005/8/layout/hierarchy1"/>
    <dgm:cxn modelId="{D083D7C8-F458-468D-85A1-0D5CFC78DDEE}" type="presParOf" srcId="{C6E9ECC1-093E-4D30-AEDA-C22D14470802}" destId="{FAE46EFB-606D-4D03-B460-859D6E524492}" srcOrd="1" destOrd="0" presId="urn:microsoft.com/office/officeart/2005/8/layout/hierarchy1"/>
    <dgm:cxn modelId="{BFC59B51-50E8-4A26-BEEA-95506D2CEA99}" type="presParOf" srcId="{3965D0C2-A5A0-4D8B-A30E-B207E3F60C88}" destId="{412ED5C8-EC37-453D-B420-155A85A1B78E}" srcOrd="1" destOrd="0" presId="urn:microsoft.com/office/officeart/2005/8/layout/hierarchy1"/>
    <dgm:cxn modelId="{C4DD8B2A-0C5D-44BB-A79F-62D3FE49BDE0}" type="presParOf" srcId="{B5900B15-350B-48C1-AB55-C1E72BDA592D}" destId="{F58B7069-8900-46C1-B452-186C46AA2927}" srcOrd="2" destOrd="0" presId="urn:microsoft.com/office/officeart/2005/8/layout/hierarchy1"/>
    <dgm:cxn modelId="{D3B97C9A-89AD-496C-9487-561046EA7D16}" type="presParOf" srcId="{B5900B15-350B-48C1-AB55-C1E72BDA592D}" destId="{8FF28468-C9B7-4E5A-A6E5-E4CF8D945F41}" srcOrd="3" destOrd="0" presId="urn:microsoft.com/office/officeart/2005/8/layout/hierarchy1"/>
    <dgm:cxn modelId="{F42825E2-8925-4240-8FEE-7729ECCFEA6C}" type="presParOf" srcId="{8FF28468-C9B7-4E5A-A6E5-E4CF8D945F41}" destId="{4AE8CAD3-8AA9-4D1B-9441-F950E3C7FAFC}" srcOrd="0" destOrd="0" presId="urn:microsoft.com/office/officeart/2005/8/layout/hierarchy1"/>
    <dgm:cxn modelId="{85ED2B1E-5E1C-4895-AB4D-EA9246EC5D50}" type="presParOf" srcId="{4AE8CAD3-8AA9-4D1B-9441-F950E3C7FAFC}" destId="{A8163283-3C6A-4724-8700-C81B33E4B175}" srcOrd="0" destOrd="0" presId="urn:microsoft.com/office/officeart/2005/8/layout/hierarchy1"/>
    <dgm:cxn modelId="{F2C4E6A0-76A8-436A-9D70-0BA0D1D5A52A}" type="presParOf" srcId="{4AE8CAD3-8AA9-4D1B-9441-F950E3C7FAFC}" destId="{6C75E691-A92C-4886-A05F-5006674634F2}" srcOrd="1" destOrd="0" presId="urn:microsoft.com/office/officeart/2005/8/layout/hierarchy1"/>
    <dgm:cxn modelId="{3D16DE09-7D9A-482C-B8F4-B4EAB00D8BDF}" type="presParOf" srcId="{8FF28468-C9B7-4E5A-A6E5-E4CF8D945F41}" destId="{442BD94B-8EED-446F-AB79-1D5A1C780AEF}" srcOrd="1" destOrd="0" presId="urn:microsoft.com/office/officeart/2005/8/layout/hierarchy1"/>
    <dgm:cxn modelId="{DB4AE53A-1034-4556-8B44-F404AF391A61}" type="presParOf" srcId="{9080D68E-5792-4885-88B8-A8B1D1134295}" destId="{052343B4-9D03-46EF-81CE-127987468621}" srcOrd="4" destOrd="0" presId="urn:microsoft.com/office/officeart/2005/8/layout/hierarchy1"/>
    <dgm:cxn modelId="{700BBE8A-25D9-4781-96B4-1227D29C623A}" type="presParOf" srcId="{9080D68E-5792-4885-88B8-A8B1D1134295}" destId="{35DC09DA-32A4-459D-9FE6-34648649964B}" srcOrd="5" destOrd="0" presId="urn:microsoft.com/office/officeart/2005/8/layout/hierarchy1"/>
    <dgm:cxn modelId="{49ABDA67-9915-4BF9-93F1-D1367E414739}" type="presParOf" srcId="{35DC09DA-32A4-459D-9FE6-34648649964B}" destId="{E0A4F582-74C0-4E07-AF3F-49E9B39A72AB}" srcOrd="0" destOrd="0" presId="urn:microsoft.com/office/officeart/2005/8/layout/hierarchy1"/>
    <dgm:cxn modelId="{988C7251-2ACD-4FD9-82CF-184CC1388759}" type="presParOf" srcId="{E0A4F582-74C0-4E07-AF3F-49E9B39A72AB}" destId="{DDE0DDD9-06DC-4427-AEA7-5818B93ACECB}" srcOrd="0" destOrd="0" presId="urn:microsoft.com/office/officeart/2005/8/layout/hierarchy1"/>
    <dgm:cxn modelId="{933A9E6B-3A76-4FC9-A353-51822A3DB17A}" type="presParOf" srcId="{E0A4F582-74C0-4E07-AF3F-49E9B39A72AB}" destId="{4004A520-0843-4C70-BF9C-695E2344F3E6}" srcOrd="1" destOrd="0" presId="urn:microsoft.com/office/officeart/2005/8/layout/hierarchy1"/>
    <dgm:cxn modelId="{50E0F3CF-082A-432F-BBF5-347FE182E110}" type="presParOf" srcId="{35DC09DA-32A4-459D-9FE6-34648649964B}" destId="{93179537-0844-474F-B56C-152255A1D182}" srcOrd="1" destOrd="0" presId="urn:microsoft.com/office/officeart/2005/8/layout/hierarchy1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2343B4-9D03-46EF-81CE-127987468621}">
      <dsp:nvSpPr>
        <dsp:cNvPr id="0" name=""/>
        <dsp:cNvSpPr/>
      </dsp:nvSpPr>
      <dsp:spPr>
        <a:xfrm>
          <a:off x="5695378" y="698309"/>
          <a:ext cx="4632345" cy="1915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4392"/>
              </a:lnTo>
              <a:lnTo>
                <a:pt x="4632345" y="124392"/>
              </a:lnTo>
              <a:lnTo>
                <a:pt x="4632345" y="19152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58B7069-8900-46C1-B452-186C46AA2927}">
      <dsp:nvSpPr>
        <dsp:cNvPr id="0" name=""/>
        <dsp:cNvSpPr/>
      </dsp:nvSpPr>
      <dsp:spPr>
        <a:xfrm>
          <a:off x="8152827" y="2542926"/>
          <a:ext cx="1132084" cy="2678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0719"/>
              </a:lnTo>
              <a:lnTo>
                <a:pt x="1132084" y="200719"/>
              </a:lnTo>
              <a:lnTo>
                <a:pt x="1132084" y="26785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F324B20-F007-40FC-A475-FD131519CBC3}">
      <dsp:nvSpPr>
        <dsp:cNvPr id="0" name=""/>
        <dsp:cNvSpPr/>
      </dsp:nvSpPr>
      <dsp:spPr>
        <a:xfrm>
          <a:off x="6954073" y="4350256"/>
          <a:ext cx="91440" cy="168838"/>
        </a:xfrm>
        <a:custGeom>
          <a:avLst/>
          <a:gdLst/>
          <a:ahLst/>
          <a:cxnLst/>
          <a:rect l="0" t="0" r="0" b="0"/>
          <a:pathLst>
            <a:path>
              <a:moveTo>
                <a:pt x="45727" y="0"/>
              </a:moveTo>
              <a:lnTo>
                <a:pt x="45727" y="101707"/>
              </a:lnTo>
              <a:lnTo>
                <a:pt x="45720" y="101707"/>
              </a:lnTo>
              <a:lnTo>
                <a:pt x="45720" y="16883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09C161-1D57-4181-823A-4E24048461E4}">
      <dsp:nvSpPr>
        <dsp:cNvPr id="0" name=""/>
        <dsp:cNvSpPr/>
      </dsp:nvSpPr>
      <dsp:spPr>
        <a:xfrm>
          <a:off x="6954080" y="3506023"/>
          <a:ext cx="91440" cy="148987"/>
        </a:xfrm>
        <a:custGeom>
          <a:avLst/>
          <a:gdLst/>
          <a:ahLst/>
          <a:cxnLst/>
          <a:rect l="0" t="0" r="0" b="0"/>
          <a:pathLst>
            <a:path>
              <a:moveTo>
                <a:pt x="66677" y="0"/>
              </a:moveTo>
              <a:lnTo>
                <a:pt x="66677" y="81856"/>
              </a:lnTo>
              <a:lnTo>
                <a:pt x="45720" y="81856"/>
              </a:lnTo>
              <a:lnTo>
                <a:pt x="45720" y="14898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8FD9C4-621A-4628-A92E-8FF7BC9605DE}">
      <dsp:nvSpPr>
        <dsp:cNvPr id="0" name=""/>
        <dsp:cNvSpPr/>
      </dsp:nvSpPr>
      <dsp:spPr>
        <a:xfrm>
          <a:off x="7020757" y="2542926"/>
          <a:ext cx="1132069" cy="267850"/>
        </a:xfrm>
        <a:custGeom>
          <a:avLst/>
          <a:gdLst/>
          <a:ahLst/>
          <a:cxnLst/>
          <a:rect l="0" t="0" r="0" b="0"/>
          <a:pathLst>
            <a:path>
              <a:moveTo>
                <a:pt x="1132069" y="0"/>
              </a:moveTo>
              <a:lnTo>
                <a:pt x="1132069" y="200719"/>
              </a:lnTo>
              <a:lnTo>
                <a:pt x="0" y="200719"/>
              </a:lnTo>
              <a:lnTo>
                <a:pt x="0" y="26785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72CEBF-7399-4CC1-BE15-684C29B7FD20}">
      <dsp:nvSpPr>
        <dsp:cNvPr id="0" name=""/>
        <dsp:cNvSpPr/>
      </dsp:nvSpPr>
      <dsp:spPr>
        <a:xfrm>
          <a:off x="5695378" y="1604310"/>
          <a:ext cx="2457448" cy="24337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6238"/>
              </a:lnTo>
              <a:lnTo>
                <a:pt x="2457448" y="176238"/>
              </a:lnTo>
              <a:lnTo>
                <a:pt x="2457448" y="24337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AE056F-F915-4C8B-945D-C0AF3A95A475}">
      <dsp:nvSpPr>
        <dsp:cNvPr id="0" name=""/>
        <dsp:cNvSpPr/>
      </dsp:nvSpPr>
      <dsp:spPr>
        <a:xfrm>
          <a:off x="3463217" y="2540883"/>
          <a:ext cx="1104126" cy="3198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2767"/>
              </a:lnTo>
              <a:lnTo>
                <a:pt x="1104126" y="252767"/>
              </a:lnTo>
              <a:lnTo>
                <a:pt x="1104126" y="31989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03F76A-7C3E-42C9-9BD0-CD8A9ECA5FB8}">
      <dsp:nvSpPr>
        <dsp:cNvPr id="0" name=""/>
        <dsp:cNvSpPr/>
      </dsp:nvSpPr>
      <dsp:spPr>
        <a:xfrm>
          <a:off x="2303190" y="2540883"/>
          <a:ext cx="1160026" cy="319898"/>
        </a:xfrm>
        <a:custGeom>
          <a:avLst/>
          <a:gdLst/>
          <a:ahLst/>
          <a:cxnLst/>
          <a:rect l="0" t="0" r="0" b="0"/>
          <a:pathLst>
            <a:path>
              <a:moveTo>
                <a:pt x="1160026" y="0"/>
              </a:moveTo>
              <a:lnTo>
                <a:pt x="1160026" y="252767"/>
              </a:lnTo>
              <a:lnTo>
                <a:pt x="0" y="252767"/>
              </a:lnTo>
              <a:lnTo>
                <a:pt x="0" y="31989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CD3DDC-C7B3-441B-8020-DF926844A591}">
      <dsp:nvSpPr>
        <dsp:cNvPr id="0" name=""/>
        <dsp:cNvSpPr/>
      </dsp:nvSpPr>
      <dsp:spPr>
        <a:xfrm>
          <a:off x="3463217" y="1604310"/>
          <a:ext cx="2232160" cy="241327"/>
        </a:xfrm>
        <a:custGeom>
          <a:avLst/>
          <a:gdLst/>
          <a:ahLst/>
          <a:cxnLst/>
          <a:rect l="0" t="0" r="0" b="0"/>
          <a:pathLst>
            <a:path>
              <a:moveTo>
                <a:pt x="2232160" y="0"/>
              </a:moveTo>
              <a:lnTo>
                <a:pt x="2232160" y="174195"/>
              </a:lnTo>
              <a:lnTo>
                <a:pt x="0" y="174195"/>
              </a:lnTo>
              <a:lnTo>
                <a:pt x="0" y="24132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A3E54C8-49F3-4EB6-877B-3DCC294021E2}">
      <dsp:nvSpPr>
        <dsp:cNvPr id="0" name=""/>
        <dsp:cNvSpPr/>
      </dsp:nvSpPr>
      <dsp:spPr>
        <a:xfrm>
          <a:off x="5649658" y="698309"/>
          <a:ext cx="91440" cy="21075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1075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976452-C63D-4E02-AEF3-BADB255E929B}">
      <dsp:nvSpPr>
        <dsp:cNvPr id="0" name=""/>
        <dsp:cNvSpPr/>
      </dsp:nvSpPr>
      <dsp:spPr>
        <a:xfrm>
          <a:off x="1244668" y="698309"/>
          <a:ext cx="4450710" cy="189794"/>
        </a:xfrm>
        <a:custGeom>
          <a:avLst/>
          <a:gdLst/>
          <a:ahLst/>
          <a:cxnLst/>
          <a:rect l="0" t="0" r="0" b="0"/>
          <a:pathLst>
            <a:path>
              <a:moveTo>
                <a:pt x="4450710" y="0"/>
              </a:moveTo>
              <a:lnTo>
                <a:pt x="4450710" y="122662"/>
              </a:lnTo>
              <a:lnTo>
                <a:pt x="0" y="122662"/>
              </a:lnTo>
              <a:lnTo>
                <a:pt x="0" y="18979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29ACD2B-E03D-495E-855E-9482EEC018B8}">
      <dsp:nvSpPr>
        <dsp:cNvPr id="0" name=""/>
        <dsp:cNvSpPr/>
      </dsp:nvSpPr>
      <dsp:spPr>
        <a:xfrm>
          <a:off x="4643818" y="3063"/>
          <a:ext cx="2103119" cy="695246"/>
        </a:xfrm>
        <a:prstGeom prst="roundRect">
          <a:avLst>
            <a:gd name="adj" fmla="val 10000"/>
          </a:avLst>
        </a:prstGeom>
        <a:solidFill>
          <a:schemeClr val="bg2">
            <a:lumMod val="25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87F19B9-A5B6-4968-991F-A1FD48427E71}">
      <dsp:nvSpPr>
        <dsp:cNvPr id="0" name=""/>
        <dsp:cNvSpPr/>
      </dsp:nvSpPr>
      <dsp:spPr>
        <a:xfrm>
          <a:off x="4724336" y="79555"/>
          <a:ext cx="2103119" cy="6952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Sr VP, Facilities and Fleet Management</a:t>
          </a:r>
        </a:p>
      </dsp:txBody>
      <dsp:txXfrm>
        <a:off x="4744699" y="99918"/>
        <a:ext cx="2062393" cy="654520"/>
      </dsp:txXfrm>
    </dsp:sp>
    <dsp:sp modelId="{0DDECAD6-FA6B-47B2-92F4-03CE72459EAB}">
      <dsp:nvSpPr>
        <dsp:cNvPr id="0" name=""/>
        <dsp:cNvSpPr/>
      </dsp:nvSpPr>
      <dsp:spPr>
        <a:xfrm>
          <a:off x="193108" y="888103"/>
          <a:ext cx="2103119" cy="69524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5898CD4-E18A-4F55-921F-D5242D7CBD94}">
      <dsp:nvSpPr>
        <dsp:cNvPr id="0" name=""/>
        <dsp:cNvSpPr/>
      </dsp:nvSpPr>
      <dsp:spPr>
        <a:xfrm>
          <a:off x="273625" y="964595"/>
          <a:ext cx="2103119" cy="6952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VP, Facilities</a:t>
          </a:r>
        </a:p>
      </dsp:txBody>
      <dsp:txXfrm>
        <a:off x="293988" y="984958"/>
        <a:ext cx="2062393" cy="654520"/>
      </dsp:txXfrm>
    </dsp:sp>
    <dsp:sp modelId="{A4AE020D-9396-4940-8DD8-24632585B198}">
      <dsp:nvSpPr>
        <dsp:cNvPr id="0" name=""/>
        <dsp:cNvSpPr/>
      </dsp:nvSpPr>
      <dsp:spPr>
        <a:xfrm>
          <a:off x="4643818" y="909064"/>
          <a:ext cx="2103119" cy="69524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5E1BC112-D878-41CB-B88B-C9530E6B4CD5}">
      <dsp:nvSpPr>
        <dsp:cNvPr id="0" name=""/>
        <dsp:cNvSpPr/>
      </dsp:nvSpPr>
      <dsp:spPr>
        <a:xfrm>
          <a:off x="4724336" y="985555"/>
          <a:ext cx="2103119" cy="6952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985" tIns="6985" rIns="6985" bIns="8025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Director, </a:t>
          </a:r>
          <a:r>
            <a:rPr lang="en-US" sz="1400" b="1" kern="1200" dirty="0">
              <a:latin typeface="Arial" panose="020B0604020202020204"/>
              <a:ea typeface="+mn-ea"/>
              <a:cs typeface="+mn-cs"/>
            </a:rPr>
            <a:t>Fleet</a:t>
          </a:r>
          <a:r>
            <a:rPr lang="en-US" sz="1400" b="1" kern="1200" dirty="0"/>
            <a:t> Management</a:t>
          </a:r>
        </a:p>
      </dsp:txBody>
      <dsp:txXfrm>
        <a:off x="4744699" y="1005918"/>
        <a:ext cx="2062393" cy="654520"/>
      </dsp:txXfrm>
    </dsp:sp>
    <dsp:sp modelId="{A95B4931-21CA-479D-AC99-92235EBC5BFB}">
      <dsp:nvSpPr>
        <dsp:cNvPr id="0" name=""/>
        <dsp:cNvSpPr/>
      </dsp:nvSpPr>
      <dsp:spPr>
        <a:xfrm>
          <a:off x="2411658" y="1845637"/>
          <a:ext cx="2103119" cy="695246"/>
        </a:xfrm>
        <a:prstGeom prst="roundRect">
          <a:avLst>
            <a:gd name="adj" fmla="val 10000"/>
          </a:avLst>
        </a:prstGeom>
        <a:solidFill>
          <a:schemeClr val="bg2">
            <a:lumMod val="75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19B93D21-3A17-420A-A9B2-9FF95BCCBD15}">
      <dsp:nvSpPr>
        <dsp:cNvPr id="0" name=""/>
        <dsp:cNvSpPr/>
      </dsp:nvSpPr>
      <dsp:spPr>
        <a:xfrm>
          <a:off x="2492175" y="1922128"/>
          <a:ext cx="2103119" cy="6952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Executive Manager, Fleet Strategy and Support</a:t>
          </a:r>
        </a:p>
      </dsp:txBody>
      <dsp:txXfrm>
        <a:off x="2512538" y="1942491"/>
        <a:ext cx="2062393" cy="654520"/>
      </dsp:txXfrm>
    </dsp:sp>
    <dsp:sp modelId="{422CB9CE-6BE3-41AC-A236-C7F7CCF09C5A}">
      <dsp:nvSpPr>
        <dsp:cNvPr id="0" name=""/>
        <dsp:cNvSpPr/>
      </dsp:nvSpPr>
      <dsp:spPr>
        <a:xfrm>
          <a:off x="1251631" y="2860782"/>
          <a:ext cx="2103119" cy="695246"/>
        </a:xfrm>
        <a:prstGeom prst="roundRect">
          <a:avLst>
            <a:gd name="adj" fmla="val 10000"/>
          </a:avLst>
        </a:prstGeom>
        <a:solidFill>
          <a:schemeClr val="accent3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8A70FFB-5663-41B7-9B91-649258CCACB3}">
      <dsp:nvSpPr>
        <dsp:cNvPr id="0" name=""/>
        <dsp:cNvSpPr/>
      </dsp:nvSpPr>
      <dsp:spPr>
        <a:xfrm>
          <a:off x="1332148" y="2937273"/>
          <a:ext cx="2103119" cy="6952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Fleet Operations Specialists</a:t>
          </a:r>
        </a:p>
      </dsp:txBody>
      <dsp:txXfrm>
        <a:off x="1352511" y="2957636"/>
        <a:ext cx="2062393" cy="654520"/>
      </dsp:txXfrm>
    </dsp:sp>
    <dsp:sp modelId="{AB215625-E1C5-4034-9F97-CB1C46C66BEC}">
      <dsp:nvSpPr>
        <dsp:cNvPr id="0" name=""/>
        <dsp:cNvSpPr/>
      </dsp:nvSpPr>
      <dsp:spPr>
        <a:xfrm>
          <a:off x="3515785" y="2860782"/>
          <a:ext cx="2103119" cy="695246"/>
        </a:xfrm>
        <a:prstGeom prst="roundRect">
          <a:avLst>
            <a:gd name="adj" fmla="val 10000"/>
          </a:avLst>
        </a:prstGeom>
        <a:solidFill>
          <a:schemeClr val="accent3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4320912-3389-4756-98DF-35D0EEC2FF25}">
      <dsp:nvSpPr>
        <dsp:cNvPr id="0" name=""/>
        <dsp:cNvSpPr/>
      </dsp:nvSpPr>
      <dsp:spPr>
        <a:xfrm>
          <a:off x="3596302" y="2937273"/>
          <a:ext cx="2103119" cy="6952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Sr. Fleet Operations Specialists</a:t>
          </a:r>
        </a:p>
      </dsp:txBody>
      <dsp:txXfrm>
        <a:off x="3616665" y="2957636"/>
        <a:ext cx="2062393" cy="654520"/>
      </dsp:txXfrm>
    </dsp:sp>
    <dsp:sp modelId="{1A352209-96D3-4740-8BBB-ED90E4D4C753}">
      <dsp:nvSpPr>
        <dsp:cNvPr id="0" name=""/>
        <dsp:cNvSpPr/>
      </dsp:nvSpPr>
      <dsp:spPr>
        <a:xfrm>
          <a:off x="7101267" y="1847680"/>
          <a:ext cx="2103119" cy="695246"/>
        </a:xfrm>
        <a:prstGeom prst="roundRect">
          <a:avLst>
            <a:gd name="adj" fmla="val 10000"/>
          </a:avLst>
        </a:prstGeom>
        <a:solidFill>
          <a:schemeClr val="bg2">
            <a:lumMod val="75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570FB5A1-AE9C-44A8-9B85-C35802C33C10}">
      <dsp:nvSpPr>
        <dsp:cNvPr id="0" name=""/>
        <dsp:cNvSpPr/>
      </dsp:nvSpPr>
      <dsp:spPr>
        <a:xfrm>
          <a:off x="7181784" y="1924171"/>
          <a:ext cx="2103119" cy="6952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Executive Manager, Fleet Operations</a:t>
          </a:r>
        </a:p>
      </dsp:txBody>
      <dsp:txXfrm>
        <a:off x="7202147" y="1944534"/>
        <a:ext cx="2062393" cy="654520"/>
      </dsp:txXfrm>
    </dsp:sp>
    <dsp:sp modelId="{57C94244-9899-48BF-A2E1-2B78634B52CB}">
      <dsp:nvSpPr>
        <dsp:cNvPr id="0" name=""/>
        <dsp:cNvSpPr/>
      </dsp:nvSpPr>
      <dsp:spPr>
        <a:xfrm>
          <a:off x="5969197" y="2810777"/>
          <a:ext cx="2103119" cy="695246"/>
        </a:xfrm>
        <a:prstGeom prst="roundRect">
          <a:avLst>
            <a:gd name="adj" fmla="val 10000"/>
          </a:avLst>
        </a:prstGeom>
        <a:solidFill>
          <a:schemeClr val="bg2">
            <a:lumMod val="9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F3E53C8-4096-40F5-B2D3-26CEB4AE58E7}">
      <dsp:nvSpPr>
        <dsp:cNvPr id="0" name=""/>
        <dsp:cNvSpPr/>
      </dsp:nvSpPr>
      <dsp:spPr>
        <a:xfrm>
          <a:off x="6049715" y="2887268"/>
          <a:ext cx="2103119" cy="6952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Manager, Fleet Operations (Region)</a:t>
          </a:r>
        </a:p>
      </dsp:txBody>
      <dsp:txXfrm>
        <a:off x="6070078" y="2907631"/>
        <a:ext cx="2062393" cy="654520"/>
      </dsp:txXfrm>
    </dsp:sp>
    <dsp:sp modelId="{158F2CD9-8BA2-4C27-88DE-2672D7078695}">
      <dsp:nvSpPr>
        <dsp:cNvPr id="0" name=""/>
        <dsp:cNvSpPr/>
      </dsp:nvSpPr>
      <dsp:spPr>
        <a:xfrm>
          <a:off x="5948240" y="3655010"/>
          <a:ext cx="2103119" cy="695246"/>
        </a:xfrm>
        <a:prstGeom prst="roundRect">
          <a:avLst>
            <a:gd name="adj" fmla="val 10000"/>
          </a:avLst>
        </a:prstGeom>
        <a:solidFill>
          <a:schemeClr val="bg2">
            <a:lumMod val="9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3188C5E-3FF2-4586-A732-89606D4BF5F0}">
      <dsp:nvSpPr>
        <dsp:cNvPr id="0" name=""/>
        <dsp:cNvSpPr/>
      </dsp:nvSpPr>
      <dsp:spPr>
        <a:xfrm>
          <a:off x="6028758" y="3731502"/>
          <a:ext cx="2103119" cy="6952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Manager, Vehicle Operations</a:t>
          </a:r>
        </a:p>
      </dsp:txBody>
      <dsp:txXfrm>
        <a:off x="6049121" y="3751865"/>
        <a:ext cx="2062393" cy="654520"/>
      </dsp:txXfrm>
    </dsp:sp>
    <dsp:sp modelId="{FC77364A-FED1-4DBB-B89D-FE667892063A}">
      <dsp:nvSpPr>
        <dsp:cNvPr id="0" name=""/>
        <dsp:cNvSpPr/>
      </dsp:nvSpPr>
      <dsp:spPr>
        <a:xfrm>
          <a:off x="5948233" y="4519095"/>
          <a:ext cx="2103119" cy="695246"/>
        </a:xfrm>
        <a:prstGeom prst="roundRect">
          <a:avLst>
            <a:gd name="adj" fmla="val 10000"/>
          </a:avLst>
        </a:prstGeom>
        <a:solidFill>
          <a:schemeClr val="bg2">
            <a:lumMod val="9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FAE46EFB-606D-4D03-B460-859D6E524492}">
      <dsp:nvSpPr>
        <dsp:cNvPr id="0" name=""/>
        <dsp:cNvSpPr/>
      </dsp:nvSpPr>
      <dsp:spPr>
        <a:xfrm>
          <a:off x="6028750" y="4595586"/>
          <a:ext cx="2103119" cy="6952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VMF Groups</a:t>
          </a:r>
        </a:p>
      </dsp:txBody>
      <dsp:txXfrm>
        <a:off x="6049113" y="4615949"/>
        <a:ext cx="2062393" cy="654520"/>
      </dsp:txXfrm>
    </dsp:sp>
    <dsp:sp modelId="{A8163283-3C6A-4724-8700-C81B33E4B175}">
      <dsp:nvSpPr>
        <dsp:cNvPr id="0" name=""/>
        <dsp:cNvSpPr/>
      </dsp:nvSpPr>
      <dsp:spPr>
        <a:xfrm>
          <a:off x="8233351" y="2810777"/>
          <a:ext cx="2103119" cy="695246"/>
        </a:xfrm>
        <a:prstGeom prst="roundRect">
          <a:avLst>
            <a:gd name="adj" fmla="val 10000"/>
          </a:avLst>
        </a:prstGeom>
        <a:solidFill>
          <a:schemeClr val="accent3">
            <a:lumMod val="60000"/>
            <a:lumOff val="40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6C75E691-A92C-4886-A05F-5006674634F2}">
      <dsp:nvSpPr>
        <dsp:cNvPr id="0" name=""/>
        <dsp:cNvSpPr/>
      </dsp:nvSpPr>
      <dsp:spPr>
        <a:xfrm>
          <a:off x="8313869" y="2887268"/>
          <a:ext cx="2103119" cy="6952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Fleet Operations Specialists</a:t>
          </a:r>
        </a:p>
      </dsp:txBody>
      <dsp:txXfrm>
        <a:off x="8334232" y="2907631"/>
        <a:ext cx="2062393" cy="654520"/>
      </dsp:txXfrm>
    </dsp:sp>
    <dsp:sp modelId="{DDE0DDD9-06DC-4427-AEA7-5818B93ACECB}">
      <dsp:nvSpPr>
        <dsp:cNvPr id="0" name=""/>
        <dsp:cNvSpPr/>
      </dsp:nvSpPr>
      <dsp:spPr>
        <a:xfrm>
          <a:off x="9276163" y="889834"/>
          <a:ext cx="2103119" cy="69524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004A520-0843-4C70-BF9C-695E2344F3E6}">
      <dsp:nvSpPr>
        <dsp:cNvPr id="0" name=""/>
        <dsp:cNvSpPr/>
      </dsp:nvSpPr>
      <dsp:spPr>
        <a:xfrm>
          <a:off x="9356681" y="966325"/>
          <a:ext cx="2103119" cy="6952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Director, NGDV Programs </a:t>
          </a:r>
        </a:p>
      </dsp:txBody>
      <dsp:txXfrm>
        <a:off x="9377044" y="986688"/>
        <a:ext cx="2062393" cy="6545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898CDA-26EB-4017-97E2-6D44B3615B24}" type="datetimeFigureOut">
              <a:rPr lang="en-US" smtClean="0"/>
              <a:t>9/2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700857-0A35-4ECE-9932-DEFA53CDA7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1658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700857-0A35-4ECE-9932-DEFA53CDA76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00784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363536-EB0C-4D12-9C53-2D3E65C69A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5346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40496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5A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599" b="1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8" name="Focus Frame 2"/>
          <p:cNvSpPr>
            <a:spLocks noChangeAspect="1"/>
          </p:cNvSpPr>
          <p:nvPr/>
        </p:nvSpPr>
        <p:spPr bwMode="gray">
          <a:xfrm>
            <a:off x="7998862" y="1025525"/>
            <a:ext cx="222820" cy="45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29" name="Focus Frame 2"/>
          <p:cNvSpPr>
            <a:spLocks noChangeAspect="1"/>
          </p:cNvSpPr>
          <p:nvPr/>
        </p:nvSpPr>
        <p:spPr bwMode="gray">
          <a:xfrm>
            <a:off x="1588460" y="1025525"/>
            <a:ext cx="222820" cy="45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>
              <a:solidFill>
                <a:prstClr val="white"/>
              </a:solidFill>
              <a:latin typeface="Arial" charset="0"/>
            </a:endParaRPr>
          </a:p>
        </p:txBody>
      </p:sp>
      <p:pic>
        <p:nvPicPr>
          <p:cNvPr id="30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3580" y="6074262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171BBC6-F01D-4E80-BB8C-A1C2D80DA6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99106" y="1025526"/>
            <a:ext cx="5989649" cy="2085975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0D5B61-7C1E-4833-A5D3-9E0F0B1259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99144" y="3263900"/>
            <a:ext cx="5989610" cy="1244600"/>
          </a:xfr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presenter(s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1D849FB-5DAC-4706-A0EF-3A2AB9B81B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99105" y="4657727"/>
            <a:ext cx="5989610" cy="939799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4565158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199" b="1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34936" y="1354041"/>
            <a:ext cx="5029200" cy="3286925"/>
          </a:xfrm>
        </p:spPr>
        <p:txBody>
          <a:bodyPr anchor="ctr">
            <a:normAutofit/>
          </a:bodyPr>
          <a:lstStyle>
            <a:lvl1pPr>
              <a:defRPr sz="3199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73EB3B-0AE2-7A48-BF35-D1CF1DB27874}"/>
              </a:ext>
            </a:extLst>
          </p:cNvPr>
          <p:cNvSpPr/>
          <p:nvPr/>
        </p:nvSpPr>
        <p:spPr bwMode="blackWhite">
          <a:xfrm>
            <a:off x="7140899" y="1354039"/>
            <a:ext cx="5051100" cy="3286926"/>
          </a:xfrm>
          <a:prstGeom prst="rect">
            <a:avLst/>
          </a:prstGeom>
          <a:solidFill>
            <a:srgbClr val="005A9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3C73678-BC25-BB4A-A678-83DD136C7174}"/>
              </a:ext>
            </a:extLst>
          </p:cNvPr>
          <p:cNvSpPr/>
          <p:nvPr/>
        </p:nvSpPr>
        <p:spPr bwMode="blackWhite">
          <a:xfrm>
            <a:off x="-2" y="1354039"/>
            <a:ext cx="1753954" cy="3286926"/>
          </a:xfrm>
          <a:prstGeom prst="rect">
            <a:avLst/>
          </a:prstGeom>
          <a:solidFill>
            <a:srgbClr val="005A9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-708" y="6083872"/>
            <a:ext cx="12192000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>
            <a:spLocks noChangeArrowheads="1"/>
          </p:cNvSpPr>
          <p:nvPr userDrawn="1"/>
        </p:nvSpPr>
        <p:spPr bwMode="auto">
          <a:xfrm>
            <a:off x="1" y="6129162"/>
            <a:ext cx="12192000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7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680" y="6333906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44">
            <a:extLst>
              <a:ext uri="{FF2B5EF4-FFF2-40B4-BE49-F238E27FC236}">
                <a16:creationId xmlns:a16="http://schemas.microsoft.com/office/drawing/2014/main" id="{D90075E3-1342-4A31-87F7-EBF9CE8642D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" y="6288793"/>
            <a:ext cx="5504264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</p:spTree>
    <p:extLst>
      <p:ext uri="{BB962C8B-B14F-4D97-AF65-F5344CB8AC3E}">
        <p14:creationId xmlns:p14="http://schemas.microsoft.com/office/powerpoint/2010/main" val="8500060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b="1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1475" y="978747"/>
            <a:ext cx="10515600" cy="4847719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126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189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252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-708" y="6083872"/>
            <a:ext cx="12192000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1" y="6129590"/>
            <a:ext cx="12192000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4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680" y="6333906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Box 44">
            <a:extLst>
              <a:ext uri="{FF2B5EF4-FFF2-40B4-BE49-F238E27FC236}">
                <a16:creationId xmlns:a16="http://schemas.microsoft.com/office/drawing/2014/main" id="{7BA6CDE4-BAD8-4A6E-B15A-40826D6201F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" y="6288793"/>
            <a:ext cx="5504264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</p:spTree>
    <p:extLst>
      <p:ext uri="{BB962C8B-B14F-4D97-AF65-F5344CB8AC3E}">
        <p14:creationId xmlns:p14="http://schemas.microsoft.com/office/powerpoint/2010/main" val="12915326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476" y="964768"/>
            <a:ext cx="5181600" cy="4389120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126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189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252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05475" y="964768"/>
            <a:ext cx="5181600" cy="4389120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126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189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252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/>
          <p:cNvSpPr/>
          <p:nvPr/>
        </p:nvSpPr>
        <p:spPr>
          <a:xfrm>
            <a:off x="-708" y="6083872"/>
            <a:ext cx="12192000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" y="6129590"/>
            <a:ext cx="12192000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1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680" y="6333906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Box 44">
            <a:extLst>
              <a:ext uri="{FF2B5EF4-FFF2-40B4-BE49-F238E27FC236}">
                <a16:creationId xmlns:a16="http://schemas.microsoft.com/office/drawing/2014/main" id="{6780F277-7BC7-4EA2-B347-688862EDBA3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" y="6288793"/>
            <a:ext cx="5504264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</p:spTree>
    <p:extLst>
      <p:ext uri="{BB962C8B-B14F-4D97-AF65-F5344CB8AC3E}">
        <p14:creationId xmlns:p14="http://schemas.microsoft.com/office/powerpoint/2010/main" val="31241523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48084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ub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2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12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198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Rockwell" panose="020606030202050204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34936" y="1354043"/>
            <a:ext cx="5029200" cy="3286925"/>
          </a:xfrm>
        </p:spPr>
        <p:txBody>
          <a:bodyPr anchor="ctr">
            <a:normAutofit/>
          </a:bodyPr>
          <a:lstStyle>
            <a:lvl1pPr>
              <a:defRPr sz="3198">
                <a:solidFill>
                  <a:srgbClr val="005A9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3C73678-BC25-BB4A-A678-83DD136C7174}"/>
              </a:ext>
            </a:extLst>
          </p:cNvPr>
          <p:cNvSpPr/>
          <p:nvPr/>
        </p:nvSpPr>
        <p:spPr bwMode="blackWhite">
          <a:xfrm>
            <a:off x="-2" y="0"/>
            <a:ext cx="1753954" cy="6082482"/>
          </a:xfrm>
          <a:prstGeom prst="rect">
            <a:avLst/>
          </a:prstGeom>
          <a:solidFill>
            <a:srgbClr val="005A9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-708" y="6083874"/>
            <a:ext cx="12192000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2" y="6130979"/>
            <a:ext cx="12192000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5594C6"/>
              </a:solidFill>
              <a:effectLst/>
              <a:uLnTx/>
              <a:uFillTx/>
              <a:latin typeface="Arial" panose="020B0604020202020204"/>
              <a:ea typeface="ＭＳ Ｐゴシック" pitchFamily="34" charset="-128"/>
              <a:cs typeface="Arial" charset="0"/>
            </a:endParaRPr>
          </a:p>
        </p:txBody>
      </p:sp>
      <p:pic>
        <p:nvPicPr>
          <p:cNvPr id="17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680" y="6333908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46379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6086DC6-D4E2-4034-97E5-BDE72E50FAED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21478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8001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60122" y="405280"/>
            <a:ext cx="11471756" cy="332399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-708" y="6083872"/>
            <a:ext cx="12192000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1" y="6129162"/>
            <a:ext cx="12192000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>
              <a:solidFill>
                <a:srgbClr val="5594C6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2" name="Picture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680" y="6333906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Box 44">
            <a:extLst>
              <a:ext uri="{FF2B5EF4-FFF2-40B4-BE49-F238E27FC236}">
                <a16:creationId xmlns:a16="http://schemas.microsoft.com/office/drawing/2014/main" id="{D90075E3-1342-4A31-87F7-EBF9CE8642D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" y="6288794"/>
            <a:ext cx="5504264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 kern="1200">
                <a:solidFill>
                  <a:schemeClr val="bg1">
                    <a:lumMod val="85000"/>
                  </a:schemeClr>
                </a:solidFill>
                <a:latin typeface="Arial" pitchFamily="34" charset="0"/>
                <a:ea typeface="MS PGothic" pitchFamily="34" charset="-128"/>
                <a:cs typeface="+mn-cs"/>
                <a:sym typeface="+mn-lt"/>
              </a:rPr>
              <a:t>Restricted and Sensitive Business Information – Do</a:t>
            </a:r>
            <a:r>
              <a:rPr lang="en-US" sz="800" b="0" kern="1200" baseline="0">
                <a:solidFill>
                  <a:schemeClr val="bg1">
                    <a:lumMod val="85000"/>
                  </a:schemeClr>
                </a:solidFill>
                <a:latin typeface="Arial" pitchFamily="34" charset="0"/>
                <a:ea typeface="MS PGothic" pitchFamily="34" charset="-128"/>
                <a:cs typeface="+mn-cs"/>
                <a:sym typeface="+mn-lt"/>
              </a:rPr>
              <a:t> Not Disclose.</a:t>
            </a:r>
            <a:endParaRPr lang="en-US" sz="800" b="0" kern="1200">
              <a:solidFill>
                <a:schemeClr val="bg1">
                  <a:lumMod val="85000"/>
                </a:schemeClr>
              </a:solidFill>
              <a:latin typeface="Arial" pitchFamily="34" charset="0"/>
              <a:ea typeface="MS PGothic" pitchFamily="34" charset="-128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563350" y="63280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8537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624" imgH="623" progId="TCLayout.ActiveDocument.1">
                  <p:embed/>
                </p:oleObj>
              </mc:Choice>
              <mc:Fallback>
                <p:oleObj name="think-cell Slide" r:id="rId12" imgW="624" imgH="623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11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b="1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5" y="2"/>
            <a:ext cx="10515600" cy="7008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475" y="772681"/>
            <a:ext cx="10515600" cy="49605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4324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hdr="0" ftr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2399" b="1" kern="1200">
          <a:solidFill>
            <a:srgbClr val="005A9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7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063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3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126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9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189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7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252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7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svg"/><Relationship Id="rId3" Type="http://schemas.openxmlformats.org/officeDocument/2006/relationships/image" Target="../media/image60.png"/><Relationship Id="rId7" Type="http://schemas.openxmlformats.org/officeDocument/2006/relationships/image" Target="../media/image64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3.svg"/><Relationship Id="rId5" Type="http://schemas.openxmlformats.org/officeDocument/2006/relationships/image" Target="../media/image62.png"/><Relationship Id="rId10" Type="http://schemas.openxmlformats.org/officeDocument/2006/relationships/image" Target="../media/image67.svg"/><Relationship Id="rId4" Type="http://schemas.openxmlformats.org/officeDocument/2006/relationships/image" Target="../media/image61.svg"/><Relationship Id="rId9" Type="http://schemas.openxmlformats.org/officeDocument/2006/relationships/image" Target="../media/image6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18" Type="http://schemas.openxmlformats.org/officeDocument/2006/relationships/image" Target="../media/image19.svg"/><Relationship Id="rId26" Type="http://schemas.openxmlformats.org/officeDocument/2006/relationships/image" Target="../media/image27.svg"/><Relationship Id="rId3" Type="http://schemas.openxmlformats.org/officeDocument/2006/relationships/image" Target="../media/image4.png"/><Relationship Id="rId21" Type="http://schemas.openxmlformats.org/officeDocument/2006/relationships/image" Target="../media/image22.pn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17" Type="http://schemas.openxmlformats.org/officeDocument/2006/relationships/image" Target="../media/image18.png"/><Relationship Id="rId25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7.svg"/><Relationship Id="rId20" Type="http://schemas.openxmlformats.org/officeDocument/2006/relationships/image" Target="../media/image21.sv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24" Type="http://schemas.openxmlformats.org/officeDocument/2006/relationships/image" Target="../media/image25.sv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23" Type="http://schemas.openxmlformats.org/officeDocument/2006/relationships/image" Target="../media/image24.png"/><Relationship Id="rId28" Type="http://schemas.openxmlformats.org/officeDocument/2006/relationships/image" Target="../media/image29.svg"/><Relationship Id="rId10" Type="http://schemas.openxmlformats.org/officeDocument/2006/relationships/image" Target="../media/image11.svg"/><Relationship Id="rId19" Type="http://schemas.openxmlformats.org/officeDocument/2006/relationships/image" Target="../media/image20.png"/><Relationship Id="rId4" Type="http://schemas.openxmlformats.org/officeDocument/2006/relationships/image" Target="../media/image5.svg"/><Relationship Id="rId9" Type="http://schemas.openxmlformats.org/officeDocument/2006/relationships/image" Target="../media/image10.png"/><Relationship Id="rId14" Type="http://schemas.openxmlformats.org/officeDocument/2006/relationships/image" Target="../media/image15.svg"/><Relationship Id="rId22" Type="http://schemas.openxmlformats.org/officeDocument/2006/relationships/image" Target="../media/image23.svg"/><Relationship Id="rId27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3.png"/><Relationship Id="rId5" Type="http://schemas.openxmlformats.org/officeDocument/2006/relationships/image" Target="../media/image32.svg"/><Relationship Id="rId4" Type="http://schemas.openxmlformats.org/officeDocument/2006/relationships/image" Target="../media/image31.png"/><Relationship Id="rId9" Type="http://schemas.openxmlformats.org/officeDocument/2006/relationships/image" Target="../media/image36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notesSlide" Target="../notesSlides/notesSlide3.xml"/><Relationship Id="rId7" Type="http://schemas.openxmlformats.org/officeDocument/2006/relationships/diagramData" Target="../diagrams/data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2.xml"/><Relationship Id="rId6" Type="http://schemas.openxmlformats.org/officeDocument/2006/relationships/image" Target="../media/image38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7.bin"/><Relationship Id="rId10" Type="http://schemas.openxmlformats.org/officeDocument/2006/relationships/diagramColors" Target="../diagrams/colors1.xml"/><Relationship Id="rId4" Type="http://schemas.openxmlformats.org/officeDocument/2006/relationships/image" Target="../media/image37.png"/><Relationship Id="rId9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svg"/><Relationship Id="rId7" Type="http://schemas.openxmlformats.org/officeDocument/2006/relationships/image" Target="../media/image44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3.png"/><Relationship Id="rId5" Type="http://schemas.openxmlformats.org/officeDocument/2006/relationships/image" Target="../media/image42.sv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microsoft.com/office/2007/relationships/hdphoto" Target="../media/hdphoto1.wdp"/><Relationship Id="rId7" Type="http://schemas.openxmlformats.org/officeDocument/2006/relationships/image" Target="../media/image55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.xml"/><Relationship Id="rId6" Type="http://schemas.microsoft.com/office/2007/relationships/hdphoto" Target="../media/hdphoto2.wdp"/><Relationship Id="rId5" Type="http://schemas.openxmlformats.org/officeDocument/2006/relationships/image" Target="../media/image54.png"/><Relationship Id="rId4" Type="http://schemas.openxmlformats.org/officeDocument/2006/relationships/image" Target="../media/image53.png"/><Relationship Id="rId9" Type="http://schemas.openxmlformats.org/officeDocument/2006/relationships/image" Target="../media/image57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1529B77-D4C2-DB17-292E-50495DB15A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4936" y="1354041"/>
            <a:ext cx="5349784" cy="3286925"/>
          </a:xfrm>
        </p:spPr>
        <p:txBody>
          <a:bodyPr/>
          <a:lstStyle/>
          <a:p>
            <a:r>
              <a:rPr lang="en-US" dirty="0"/>
              <a:t>Fleet Management Overview</a:t>
            </a:r>
          </a:p>
        </p:txBody>
      </p:sp>
    </p:spTree>
    <p:extLst>
      <p:ext uri="{BB962C8B-B14F-4D97-AF65-F5344CB8AC3E}">
        <p14:creationId xmlns:p14="http://schemas.microsoft.com/office/powerpoint/2010/main" val="24820499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30E8F-A0DF-4C5D-DAD7-B4529FEAE9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dernization Initiatives Update</a:t>
            </a:r>
          </a:p>
        </p:txBody>
      </p:sp>
    </p:spTree>
    <p:extLst>
      <p:ext uri="{BB962C8B-B14F-4D97-AF65-F5344CB8AC3E}">
        <p14:creationId xmlns:p14="http://schemas.microsoft.com/office/powerpoint/2010/main" val="6708209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508AB7F-5C0F-2939-C50D-3D4C161AE13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30000"/>
          </a:blip>
          <a:srcRect t="16375" b="5825"/>
          <a:stretch/>
        </p:blipFill>
        <p:spPr>
          <a:xfrm>
            <a:off x="0" y="942793"/>
            <a:ext cx="12192000" cy="513473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7EAEB43A-C7FF-0EB5-A021-B6D7721EB1A6}"/>
              </a:ext>
            </a:extLst>
          </p:cNvPr>
          <p:cNvSpPr txBox="1">
            <a:spLocks/>
          </p:cNvSpPr>
          <p:nvPr/>
        </p:nvSpPr>
        <p:spPr>
          <a:xfrm>
            <a:off x="360122" y="294445"/>
            <a:ext cx="11471756" cy="332399"/>
          </a:xfrm>
          <a:prstGeom prst="rect">
            <a:avLst/>
          </a:prstGeom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>
                <a:solidFill>
                  <a:srgbClr val="005A9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onnecting the Fleet through Integrated Fleet Managemen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0B1F00-9115-22C4-69EB-7DF4BC461894}"/>
              </a:ext>
            </a:extLst>
          </p:cNvPr>
          <p:cNvSpPr/>
          <p:nvPr/>
        </p:nvSpPr>
        <p:spPr>
          <a:xfrm>
            <a:off x="156921" y="1136372"/>
            <a:ext cx="5366423" cy="2292627"/>
          </a:xfrm>
          <a:prstGeom prst="rect">
            <a:avLst/>
          </a:prstGeom>
          <a:solidFill>
            <a:schemeClr val="tx2">
              <a:alpha val="90000"/>
            </a:schemeClr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b="1" u="sng" dirty="0">
                <a:solidFill>
                  <a:srgbClr val="00B050"/>
                </a:solidFill>
              </a:rPr>
              <a:t>Key Objectives: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FFFF"/>
                </a:solidFill>
              </a:rPr>
              <a:t>Equip all USPS-owned vehicles with telematics devices</a:t>
            </a:r>
          </a:p>
          <a:p>
            <a:pPr marL="6286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FFFF"/>
                </a:solidFill>
              </a:rPr>
              <a:t>245,000+ delivery, logistics, and Support vehicle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FFFF"/>
                </a:solidFill>
              </a:rPr>
              <a:t>Deploy a modern, COTS Fleet Management Information System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FFFF"/>
                </a:solidFill>
              </a:rPr>
              <a:t>Integrate telematics, vehicle maintenance data, and existing USPS systems to streamline Fleet operation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9342D16-F72C-E447-611E-A3F2950109BC}"/>
              </a:ext>
            </a:extLst>
          </p:cNvPr>
          <p:cNvSpPr/>
          <p:nvPr/>
        </p:nvSpPr>
        <p:spPr>
          <a:xfrm>
            <a:off x="156921" y="3953340"/>
            <a:ext cx="5366423" cy="1782442"/>
          </a:xfrm>
          <a:prstGeom prst="rect">
            <a:avLst/>
          </a:prstGeom>
          <a:solidFill>
            <a:schemeClr val="tx2">
              <a:alpha val="90000"/>
            </a:schemeClr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b="1" u="sng" dirty="0">
                <a:solidFill>
                  <a:srgbClr val="00B050"/>
                </a:solidFill>
              </a:rPr>
              <a:t>Current Progress: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FFFF"/>
                </a:solidFill>
              </a:rPr>
              <a:t>Over 104,000 vehicles equipped with telematic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FFFF"/>
                </a:solidFill>
              </a:rPr>
              <a:t>FMIS development on track for early FY24 rollout start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FFFF"/>
                </a:solidFill>
              </a:rPr>
              <a:t>Key process improvements mappe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DD06F85-899D-FF31-1D29-1C44F1666F53}"/>
              </a:ext>
            </a:extLst>
          </p:cNvPr>
          <p:cNvSpPr/>
          <p:nvPr/>
        </p:nvSpPr>
        <p:spPr>
          <a:xfrm>
            <a:off x="6197604" y="1136373"/>
            <a:ext cx="5814290" cy="4599409"/>
          </a:xfrm>
          <a:prstGeom prst="rect">
            <a:avLst/>
          </a:prstGeom>
          <a:solidFill>
            <a:schemeClr val="tx2">
              <a:alpha val="90000"/>
            </a:schemeClr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b="1" u="sng">
                <a:solidFill>
                  <a:srgbClr val="00B050"/>
                </a:solidFill>
              </a:rPr>
              <a:t>Program Benefits: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600" b="1">
                <a:solidFill>
                  <a:srgbClr val="FFFFFF"/>
                </a:solidFill>
              </a:rPr>
              <a:t>   Reduce Fleet Maintenance Costs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FFFFFF"/>
                </a:solidFill>
              </a:rPr>
              <a:t>PMI scheduling based on actual vehicle usage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FFFFFF"/>
                </a:solidFill>
              </a:rPr>
              <a:t>Automatic workorder creation from telematics data</a:t>
            </a:r>
          </a:p>
          <a:p>
            <a:pPr lvl="1">
              <a:spcAft>
                <a:spcPts val="600"/>
              </a:spcAft>
            </a:pPr>
            <a:r>
              <a:rPr lang="en-US" sz="1600" b="1">
                <a:solidFill>
                  <a:srgbClr val="FFFFFF"/>
                </a:solidFill>
              </a:rPr>
              <a:t>   Improve Fuel Efficiency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FFFFFF"/>
                </a:solidFill>
              </a:rPr>
              <a:t>Improve MPG through repairs based on telematics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FFFFFF"/>
                </a:solidFill>
              </a:rPr>
              <a:t>In-vehicle alerts for harsh driving &amp; speeding</a:t>
            </a:r>
          </a:p>
          <a:p>
            <a:pPr lvl="1">
              <a:spcAft>
                <a:spcPts val="600"/>
              </a:spcAft>
            </a:pPr>
            <a:r>
              <a:rPr lang="en-US" sz="1600" b="1">
                <a:solidFill>
                  <a:srgbClr val="FFFFFF"/>
                </a:solidFill>
              </a:rPr>
              <a:t>   Improve Vehicle Utilization Visibility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FFFFFF"/>
                </a:solidFill>
              </a:rPr>
              <a:t>Optimize vehicle placement &amp; fleet size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FFFFFF"/>
                </a:solidFill>
              </a:rPr>
              <a:t>Distribute usage more evenly with vehicle rotation</a:t>
            </a:r>
          </a:p>
          <a:p>
            <a:pPr lvl="1">
              <a:spcAft>
                <a:spcPts val="600"/>
              </a:spcAft>
            </a:pPr>
            <a:r>
              <a:rPr lang="en-US" sz="1600" b="1">
                <a:solidFill>
                  <a:srgbClr val="FFFFFF"/>
                </a:solidFill>
              </a:rPr>
              <a:t>   Enable Improved Processes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FFFFFF"/>
                </a:solidFill>
              </a:rPr>
              <a:t>Track parts quality &amp; streamline usage</a:t>
            </a:r>
          </a:p>
          <a:p>
            <a:pPr marL="108585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FFFFFF"/>
                </a:solidFill>
              </a:rPr>
              <a:t>Simplified vehicle acceptance proces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815F536-BE19-85BF-6E98-B9DF4998EEF4}"/>
              </a:ext>
            </a:extLst>
          </p:cNvPr>
          <p:cNvSpPr txBox="1"/>
          <p:nvPr/>
        </p:nvSpPr>
        <p:spPr>
          <a:xfrm>
            <a:off x="156921" y="667885"/>
            <a:ext cx="11573260" cy="26567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b="1" i="1">
                <a:solidFill>
                  <a:srgbClr val="00B0F0"/>
                </a:solidFill>
              </a:rPr>
              <a:t>Enabling Savings &amp; Operational Improvements Through Vehicle Telematics &amp; A Modern Fleet Management Information System (FMIS)</a:t>
            </a:r>
          </a:p>
        </p:txBody>
      </p:sp>
      <p:pic>
        <p:nvPicPr>
          <p:cNvPr id="16" name="Graphic 15" descr="Tools with solid fill">
            <a:extLst>
              <a:ext uri="{FF2B5EF4-FFF2-40B4-BE49-F238E27FC236}">
                <a16:creationId xmlns:a16="http://schemas.microsoft.com/office/drawing/2014/main" id="{BF215A24-AAF9-7391-607C-923C2A639F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29173" y="1676556"/>
            <a:ext cx="524211" cy="524211"/>
          </a:xfrm>
          <a:prstGeom prst="rect">
            <a:avLst/>
          </a:prstGeom>
        </p:spPr>
      </p:pic>
      <p:pic>
        <p:nvPicPr>
          <p:cNvPr id="18" name="Graphic 17" descr="Gauge with solid fill">
            <a:extLst>
              <a:ext uri="{FF2B5EF4-FFF2-40B4-BE49-F238E27FC236}">
                <a16:creationId xmlns:a16="http://schemas.microsoft.com/office/drawing/2014/main" id="{233EE27C-CE78-5BB1-0701-2135F1169E0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29173" y="3489289"/>
            <a:ext cx="524211" cy="524211"/>
          </a:xfrm>
          <a:prstGeom prst="rect">
            <a:avLst/>
          </a:prstGeom>
        </p:spPr>
      </p:pic>
      <p:pic>
        <p:nvPicPr>
          <p:cNvPr id="20" name="Graphic 19" descr="Fuel with solid fill">
            <a:extLst>
              <a:ext uri="{FF2B5EF4-FFF2-40B4-BE49-F238E27FC236}">
                <a16:creationId xmlns:a16="http://schemas.microsoft.com/office/drawing/2014/main" id="{E0675364-4464-F3EB-3552-3E6D021D7FA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29173" y="2580687"/>
            <a:ext cx="524211" cy="524211"/>
          </a:xfrm>
          <a:prstGeom prst="rect">
            <a:avLst/>
          </a:prstGeom>
        </p:spPr>
      </p:pic>
      <p:pic>
        <p:nvPicPr>
          <p:cNvPr id="26" name="Graphic 25" descr="Continuous Improvement with solid fill">
            <a:extLst>
              <a:ext uri="{FF2B5EF4-FFF2-40B4-BE49-F238E27FC236}">
                <a16:creationId xmlns:a16="http://schemas.microsoft.com/office/drawing/2014/main" id="{C511B815-CA4E-58D7-EBCA-E5946AD57A9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29173" y="4458762"/>
            <a:ext cx="524211" cy="524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118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309F90-0DF2-4E81-BA7A-EB64F6B86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napshot of the Postal Vehicle Fleet &amp; Suppor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F6897FE-755E-BF73-58B5-83D97CD63A06}"/>
              </a:ext>
            </a:extLst>
          </p:cNvPr>
          <p:cNvSpPr txBox="1"/>
          <p:nvPr/>
        </p:nvSpPr>
        <p:spPr>
          <a:xfrm>
            <a:off x="0" y="700846"/>
            <a:ext cx="38862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y The Number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9416636-A6AC-6795-2B98-B1B8BA42F5AC}"/>
              </a:ext>
            </a:extLst>
          </p:cNvPr>
          <p:cNvSpPr txBox="1"/>
          <p:nvPr/>
        </p:nvSpPr>
        <p:spPr>
          <a:xfrm>
            <a:off x="175458" y="5774244"/>
            <a:ext cx="3218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hicle counts as of </a:t>
            </a:r>
            <a:r>
              <a:rPr lang="en-US" sz="900" i="1">
                <a:solidFill>
                  <a:prstClr val="black"/>
                </a:solidFill>
                <a:latin typeface="Arial" panose="020B0604020202020204"/>
              </a:rPr>
              <a:t>9</a:t>
            </a: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25/23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cludes inactive and unmaintainable vehic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6ED3306-2900-2844-B0C7-D8C6033DE3F3}"/>
              </a:ext>
            </a:extLst>
          </p:cNvPr>
          <p:cNvGrpSpPr/>
          <p:nvPr/>
        </p:nvGrpSpPr>
        <p:grpSpPr>
          <a:xfrm>
            <a:off x="3703385" y="568335"/>
            <a:ext cx="365760" cy="5303520"/>
            <a:chOff x="5942914" y="2081213"/>
            <a:chExt cx="306171" cy="4079081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E072E778-BD58-E2C5-99B2-CBDB0C14CA15}"/>
                </a:ext>
              </a:extLst>
            </p:cNvPr>
            <p:cNvCxnSpPr/>
            <p:nvPr/>
          </p:nvCxnSpPr>
          <p:spPr>
            <a:xfrm>
              <a:off x="6096000" y="2081213"/>
              <a:ext cx="0" cy="4079081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F6BDC61-79F6-91CD-6C4A-AC8D0C7B42FF}"/>
                </a:ext>
              </a:extLst>
            </p:cNvPr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26" name="Freeform 94">
                <a:extLst>
                  <a:ext uri="{FF2B5EF4-FFF2-40B4-BE49-F238E27FC236}">
                    <a16:creationId xmlns:a16="http://schemas.microsoft.com/office/drawing/2014/main" id="{91E1F6CE-CA7E-35C5-9F3B-99947A0E60C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txBody>
              <a:bodyPr vert="horz" wrap="square" lIns="88618" tIns="44309" rIns="88618" bIns="443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6E6F73"/>
                  </a:solidFill>
                </a:endParaRPr>
              </a:p>
            </p:txBody>
          </p:sp>
          <p:sp>
            <p:nvSpPr>
              <p:cNvPr id="27" name="Freeform 95">
                <a:extLst>
                  <a:ext uri="{FF2B5EF4-FFF2-40B4-BE49-F238E27FC236}">
                    <a16:creationId xmlns:a16="http://schemas.microsoft.com/office/drawing/2014/main" id="{941C93B5-AE89-74F8-0C7E-B4D074EF041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18" tIns="44309" rIns="88618" bIns="443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6E6F73"/>
                  </a:solidFill>
                </a:endParaRPr>
              </a:p>
            </p:txBody>
          </p: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2CBF116-A6BC-6AE8-C735-FA864BC6D591}"/>
              </a:ext>
            </a:extLst>
          </p:cNvPr>
          <p:cNvGrpSpPr/>
          <p:nvPr/>
        </p:nvGrpSpPr>
        <p:grpSpPr>
          <a:xfrm>
            <a:off x="7980958" y="536118"/>
            <a:ext cx="365760" cy="5303520"/>
            <a:chOff x="5942914" y="2081213"/>
            <a:chExt cx="306171" cy="4079081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D2E07806-CA24-084C-1F49-237239CD61E6}"/>
                </a:ext>
              </a:extLst>
            </p:cNvPr>
            <p:cNvCxnSpPr/>
            <p:nvPr/>
          </p:nvCxnSpPr>
          <p:spPr>
            <a:xfrm>
              <a:off x="6096000" y="2081213"/>
              <a:ext cx="0" cy="4079081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8AA9F6B-937C-B9B9-8223-5CDEF07C18ED}"/>
                </a:ext>
              </a:extLst>
            </p:cNvPr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31" name="Freeform 94">
                <a:extLst>
                  <a:ext uri="{FF2B5EF4-FFF2-40B4-BE49-F238E27FC236}">
                    <a16:creationId xmlns:a16="http://schemas.microsoft.com/office/drawing/2014/main" id="{14177AEB-1CB6-0F14-F646-A7E2727EA3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txBody>
              <a:bodyPr vert="horz" wrap="square" lIns="88618" tIns="44309" rIns="88618" bIns="443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6E6F73"/>
                  </a:solidFill>
                </a:endParaRPr>
              </a:p>
            </p:txBody>
          </p:sp>
          <p:sp>
            <p:nvSpPr>
              <p:cNvPr id="32" name="Freeform 95">
                <a:extLst>
                  <a:ext uri="{FF2B5EF4-FFF2-40B4-BE49-F238E27FC236}">
                    <a16:creationId xmlns:a16="http://schemas.microsoft.com/office/drawing/2014/main" id="{9DC6F8B0-83D0-7BED-1A98-38EACEB0D2C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18" tIns="44309" rIns="88618" bIns="443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6E6F73"/>
                  </a:solidFill>
                </a:endParaRPr>
              </a:p>
            </p:txBody>
          </p:sp>
        </p:grpSp>
      </p:grp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63877A1E-220E-DA6A-700C-502F7CDCC52C}"/>
              </a:ext>
            </a:extLst>
          </p:cNvPr>
          <p:cNvSpPr/>
          <p:nvPr/>
        </p:nvSpPr>
        <p:spPr>
          <a:xfrm>
            <a:off x="4388859" y="1128041"/>
            <a:ext cx="3200400" cy="74642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600" b="1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306 Vehicle </a:t>
            </a:r>
          </a:p>
          <a:p>
            <a:pPr algn="r"/>
            <a:r>
              <a:rPr lang="en-US" sz="1600" b="1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aintenance Facilities </a:t>
            </a:r>
            <a:endParaRPr lang="en-US" b="1">
              <a:solidFill>
                <a:schemeClr val="tx1"/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4A342AEF-408F-E1CB-C9C2-667B49ADAA5A}"/>
              </a:ext>
            </a:extLst>
          </p:cNvPr>
          <p:cNvGrpSpPr/>
          <p:nvPr/>
        </p:nvGrpSpPr>
        <p:grpSpPr>
          <a:xfrm>
            <a:off x="4377977" y="1080430"/>
            <a:ext cx="778686" cy="775844"/>
            <a:chOff x="9541611" y="3226036"/>
            <a:chExt cx="1345464" cy="134546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E689A200-FAFB-7C44-5F01-748DB16DED34}"/>
                </a:ext>
              </a:extLst>
            </p:cNvPr>
            <p:cNvGrpSpPr/>
            <p:nvPr/>
          </p:nvGrpSpPr>
          <p:grpSpPr>
            <a:xfrm>
              <a:off x="9541611" y="3226036"/>
              <a:ext cx="1345464" cy="1345464"/>
              <a:chOff x="9541611" y="3226036"/>
              <a:chExt cx="1345464" cy="1345464"/>
            </a:xfrm>
          </p:grpSpPr>
          <p:pic>
            <p:nvPicPr>
              <p:cNvPr id="44" name="Graphic 43" descr="Warehouse outline">
                <a:extLst>
                  <a:ext uri="{FF2B5EF4-FFF2-40B4-BE49-F238E27FC236}">
                    <a16:creationId xmlns:a16="http://schemas.microsoft.com/office/drawing/2014/main" id="{EA9B99B0-BA76-9BC4-715F-66D8B62CDD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541611" y="3226036"/>
                <a:ext cx="1345464" cy="1345464"/>
              </a:xfrm>
              <a:prstGeom prst="rect">
                <a:avLst/>
              </a:prstGeom>
            </p:spPr>
          </p:pic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BE4521DA-13A7-3B36-44E3-8718317544A7}"/>
                  </a:ext>
                </a:extLst>
              </p:cNvPr>
              <p:cNvSpPr/>
              <p:nvPr/>
            </p:nvSpPr>
            <p:spPr>
              <a:xfrm>
                <a:off x="9836886" y="3974603"/>
                <a:ext cx="785869" cy="470711"/>
              </a:xfrm>
              <a:prstGeom prst="rect">
                <a:avLst/>
              </a:prstGeom>
              <a:solidFill>
                <a:srgbClr val="D8D8D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1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pic>
          <p:nvPicPr>
            <p:cNvPr id="42" name="Graphic 41" descr="Car Mechanic with solid fill">
              <a:extLst>
                <a:ext uri="{FF2B5EF4-FFF2-40B4-BE49-F238E27FC236}">
                  <a16:creationId xmlns:a16="http://schemas.microsoft.com/office/drawing/2014/main" id="{21AF4CAE-3898-8B09-34F3-50C050CBCB1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909812" y="3913993"/>
              <a:ext cx="620608" cy="620608"/>
            </a:xfrm>
            <a:prstGeom prst="rect">
              <a:avLst/>
            </a:prstGeom>
            <a:effectLst/>
          </p:spPr>
        </p:pic>
        <p:pic>
          <p:nvPicPr>
            <p:cNvPr id="43" name="Graphic 42" descr="Car Mechanic with solid fill">
              <a:extLst>
                <a:ext uri="{FF2B5EF4-FFF2-40B4-BE49-F238E27FC236}">
                  <a16:creationId xmlns:a16="http://schemas.microsoft.com/office/drawing/2014/main" id="{1948D2FC-BA04-905A-DA14-0A2991A1EF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l="-8964" t="2122" r="8964" b="66095"/>
            <a:stretch/>
          </p:blipFill>
          <p:spPr>
            <a:xfrm>
              <a:off x="9844893" y="3502063"/>
              <a:ext cx="620607" cy="197243"/>
            </a:xfrm>
            <a:prstGeom prst="rect">
              <a:avLst/>
            </a:prstGeom>
          </p:spPr>
        </p:pic>
      </p:grp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C67EB297-E90C-C882-59FF-317D85217AC1}"/>
              </a:ext>
            </a:extLst>
          </p:cNvPr>
          <p:cNvSpPr/>
          <p:nvPr/>
        </p:nvSpPr>
        <p:spPr>
          <a:xfrm>
            <a:off x="4385410" y="2229468"/>
            <a:ext cx="3200400" cy="74642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600" b="1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5,000 Technicians,</a:t>
            </a:r>
          </a:p>
          <a:p>
            <a:pPr algn="r"/>
            <a:r>
              <a:rPr lang="en-US" sz="1600" b="1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lerks, Managers</a:t>
            </a:r>
            <a:endParaRPr lang="en-US" b="1">
              <a:solidFill>
                <a:schemeClr val="tx1"/>
              </a:solidFill>
            </a:endParaRPr>
          </a:p>
        </p:txBody>
      </p:sp>
      <p:pic>
        <p:nvPicPr>
          <p:cNvPr id="23" name="Graphic 22" descr="Users with solid fill">
            <a:extLst>
              <a:ext uri="{FF2B5EF4-FFF2-40B4-BE49-F238E27FC236}">
                <a16:creationId xmlns:a16="http://schemas.microsoft.com/office/drawing/2014/main" id="{E6B213CC-BACC-0436-33C4-124235CDA2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38640" y="2235025"/>
            <a:ext cx="777240" cy="7772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7BA09F36-7D8D-9DE9-8912-5FDAC76FCFD8}"/>
              </a:ext>
            </a:extLst>
          </p:cNvPr>
          <p:cNvSpPr/>
          <p:nvPr/>
        </p:nvSpPr>
        <p:spPr>
          <a:xfrm>
            <a:off x="210016" y="1205331"/>
            <a:ext cx="3200400" cy="74642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600" b="1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46,050 Vehicles</a:t>
            </a:r>
            <a:endParaRPr lang="en-US" b="1">
              <a:solidFill>
                <a:schemeClr val="tx1"/>
              </a:solidFill>
            </a:endParaRPr>
          </a:p>
        </p:txBody>
      </p:sp>
      <p:pic>
        <p:nvPicPr>
          <p:cNvPr id="54" name="Graphic 53" descr="Truck with solid fill">
            <a:extLst>
              <a:ext uri="{FF2B5EF4-FFF2-40B4-BE49-F238E27FC236}">
                <a16:creationId xmlns:a16="http://schemas.microsoft.com/office/drawing/2014/main" id="{81B19893-9650-1435-8223-3AC76ADA030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35532" y="1189921"/>
            <a:ext cx="709710" cy="7772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5" name="Graphic 54" descr="Delivery with solid fill">
            <a:extLst>
              <a:ext uri="{FF2B5EF4-FFF2-40B4-BE49-F238E27FC236}">
                <a16:creationId xmlns:a16="http://schemas.microsoft.com/office/drawing/2014/main" id="{688ED3CB-DD46-4E31-B8A6-DF004B6B894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89628" y="1305354"/>
            <a:ext cx="567768" cy="62179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11436031-5A8A-CBA4-C806-77D795630BFA}"/>
              </a:ext>
            </a:extLst>
          </p:cNvPr>
          <p:cNvSpPr/>
          <p:nvPr/>
        </p:nvSpPr>
        <p:spPr>
          <a:xfrm>
            <a:off x="666477" y="2148034"/>
            <a:ext cx="2286000" cy="41148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b="1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24,985 Delivery</a:t>
            </a:r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97AE21D1-BEF3-8FB6-DF70-CC746FFE343D}"/>
              </a:ext>
            </a:extLst>
          </p:cNvPr>
          <p:cNvSpPr/>
          <p:nvPr/>
        </p:nvSpPr>
        <p:spPr>
          <a:xfrm>
            <a:off x="678140" y="2730678"/>
            <a:ext cx="2286000" cy="41148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b="1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7,669 Logistics</a:t>
            </a:r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8ABC2C36-FA22-B4A6-73AF-0D741E95D88A}"/>
              </a:ext>
            </a:extLst>
          </p:cNvPr>
          <p:cNvSpPr/>
          <p:nvPr/>
        </p:nvSpPr>
        <p:spPr>
          <a:xfrm>
            <a:off x="702541" y="3359042"/>
            <a:ext cx="2286000" cy="41148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400" b="1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13,396 Support</a:t>
            </a:r>
          </a:p>
        </p:txBody>
      </p:sp>
      <p:pic>
        <p:nvPicPr>
          <p:cNvPr id="51" name="Graphic 50" descr="Delivery with solid fill">
            <a:extLst>
              <a:ext uri="{FF2B5EF4-FFF2-40B4-BE49-F238E27FC236}">
                <a16:creationId xmlns:a16="http://schemas.microsoft.com/office/drawing/2014/main" id="{063D7610-A3C9-F1FA-C8FD-466729AADD0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74110" y="2730678"/>
            <a:ext cx="457200" cy="4572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9" name="Graphic 48" descr="Truck with solid fill">
            <a:extLst>
              <a:ext uri="{FF2B5EF4-FFF2-40B4-BE49-F238E27FC236}">
                <a16:creationId xmlns:a16="http://schemas.microsoft.com/office/drawing/2014/main" id="{51C7857D-C39D-5BA4-AB62-C511DAE4E4C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63269" y="2148034"/>
            <a:ext cx="457200" cy="4572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3" name="Graphic 52" descr="Car with solid fill">
            <a:extLst>
              <a:ext uri="{FF2B5EF4-FFF2-40B4-BE49-F238E27FC236}">
                <a16:creationId xmlns:a16="http://schemas.microsoft.com/office/drawing/2014/main" id="{917F1DBD-C864-B0FF-4F5B-D14DD7FB1A6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99333" y="3351188"/>
            <a:ext cx="457200" cy="4572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003D861F-1B92-5589-BBEA-7CBCCB000029}"/>
              </a:ext>
            </a:extLst>
          </p:cNvPr>
          <p:cNvSpPr txBox="1"/>
          <p:nvPr/>
        </p:nvSpPr>
        <p:spPr>
          <a:xfrm>
            <a:off x="3886266" y="709110"/>
            <a:ext cx="4277572" cy="365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upporting the Fleet</a:t>
            </a:r>
          </a:p>
        </p:txBody>
      </p:sp>
      <p:pic>
        <p:nvPicPr>
          <p:cNvPr id="61" name="Graphic 60" descr="Car with solid fill">
            <a:extLst>
              <a:ext uri="{FF2B5EF4-FFF2-40B4-BE49-F238E27FC236}">
                <a16:creationId xmlns:a16="http://schemas.microsoft.com/office/drawing/2014/main" id="{E6ED5E97-7F83-EEBC-F9E0-C77EE11BDDE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15474" y="1468698"/>
            <a:ext cx="457200" cy="4572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58E4AAA7-D354-FF97-EC97-2113D047CF20}"/>
              </a:ext>
            </a:extLst>
          </p:cNvPr>
          <p:cNvSpPr txBox="1"/>
          <p:nvPr/>
        </p:nvSpPr>
        <p:spPr>
          <a:xfrm>
            <a:off x="8163840" y="700846"/>
            <a:ext cx="4028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ow we Support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F63912FB-DDA1-9471-AD3E-1CC10EB38AF7}"/>
              </a:ext>
            </a:extLst>
          </p:cNvPr>
          <p:cNvSpPr/>
          <p:nvPr/>
        </p:nvSpPr>
        <p:spPr>
          <a:xfrm>
            <a:off x="4385410" y="3337621"/>
            <a:ext cx="3200400" cy="74642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600" b="1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$330M Contract Labor</a:t>
            </a:r>
            <a:endParaRPr lang="en-US" sz="1600" b="1">
              <a:solidFill>
                <a:srgbClr val="005A92"/>
              </a:solidFill>
              <a:highlight>
                <a:srgbClr val="FFFF00"/>
              </a:highlight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algn="r"/>
            <a:r>
              <a:rPr lang="en-US" sz="1600" b="1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7,000 Contract Garages</a:t>
            </a:r>
          </a:p>
        </p:txBody>
      </p:sp>
      <p:pic>
        <p:nvPicPr>
          <p:cNvPr id="9" name="Graphic 8" descr="Car Mechanic with solid fill">
            <a:extLst>
              <a:ext uri="{FF2B5EF4-FFF2-40B4-BE49-F238E27FC236}">
                <a16:creationId xmlns:a16="http://schemas.microsoft.com/office/drawing/2014/main" id="{7B2C06A1-9A9C-550D-C86E-DDEEBF1C9AFD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400016" y="3316544"/>
            <a:ext cx="777240" cy="7772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2BCEFA7-7E20-6EA2-725E-B235F9813139}"/>
              </a:ext>
            </a:extLst>
          </p:cNvPr>
          <p:cNvSpPr/>
          <p:nvPr/>
        </p:nvSpPr>
        <p:spPr>
          <a:xfrm>
            <a:off x="4385410" y="4455517"/>
            <a:ext cx="3200400" cy="74642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600" b="1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$384M in Parts Spend</a:t>
            </a:r>
          </a:p>
          <a:p>
            <a:pPr algn="r"/>
            <a:r>
              <a:rPr lang="en-US" sz="1600" b="1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4M Parts in Stock</a:t>
            </a:r>
          </a:p>
          <a:p>
            <a:pPr algn="r"/>
            <a:r>
              <a:rPr lang="en-US" sz="1600" b="1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3 Consignment Suppliers</a:t>
            </a:r>
            <a:endParaRPr lang="en-US" b="1">
              <a:solidFill>
                <a:schemeClr val="tx1"/>
              </a:solidFill>
            </a:endParaRPr>
          </a:p>
        </p:txBody>
      </p:sp>
      <p:pic>
        <p:nvPicPr>
          <p:cNvPr id="17" name="Graphic 16" descr="Gears with solid fill">
            <a:extLst>
              <a:ext uri="{FF2B5EF4-FFF2-40B4-BE49-F238E27FC236}">
                <a16:creationId xmlns:a16="http://schemas.microsoft.com/office/drawing/2014/main" id="{BC66E73D-63FA-CCD1-30DE-ECC79647719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385410" y="4444397"/>
            <a:ext cx="777240" cy="7772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2C69BF9-219C-1371-F393-152F7693D1E2}"/>
              </a:ext>
            </a:extLst>
          </p:cNvPr>
          <p:cNvSpPr/>
          <p:nvPr/>
        </p:nvSpPr>
        <p:spPr>
          <a:xfrm>
            <a:off x="185969" y="4464214"/>
            <a:ext cx="3200400" cy="74642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600" b="1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19,000 Delivery Units</a:t>
            </a:r>
          </a:p>
          <a:p>
            <a:pPr algn="r"/>
            <a:r>
              <a:rPr lang="en-US" sz="1600" b="1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145 PVS Locations</a:t>
            </a:r>
            <a:endParaRPr lang="en-US" b="1">
              <a:solidFill>
                <a:schemeClr val="tx1"/>
              </a:solidFill>
            </a:endParaRPr>
          </a:p>
        </p:txBody>
      </p:sp>
      <p:pic>
        <p:nvPicPr>
          <p:cNvPr id="21" name="Graphic 20" descr="Marker with solid fill">
            <a:extLst>
              <a:ext uri="{FF2B5EF4-FFF2-40B4-BE49-F238E27FC236}">
                <a16:creationId xmlns:a16="http://schemas.microsoft.com/office/drawing/2014/main" id="{72FE43AB-22A3-31C9-7465-D232459C7D6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99563" y="4429725"/>
            <a:ext cx="757153" cy="757153"/>
          </a:xfrm>
          <a:prstGeom prst="rect">
            <a:avLst/>
          </a:prstGeom>
        </p:spPr>
      </p:pic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740BC51E-129B-FBCB-EFAB-E70D2351F149}"/>
              </a:ext>
            </a:extLst>
          </p:cNvPr>
          <p:cNvSpPr/>
          <p:nvPr/>
        </p:nvSpPr>
        <p:spPr>
          <a:xfrm>
            <a:off x="8329738" y="1128041"/>
            <a:ext cx="3200400" cy="74642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600" b="1" dirty="0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Fleet Strategy &amp; Support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17DE59C5-B47D-4AD6-E66D-8BEDE96F5093}"/>
              </a:ext>
            </a:extLst>
          </p:cNvPr>
          <p:cNvSpPr/>
          <p:nvPr/>
        </p:nvSpPr>
        <p:spPr>
          <a:xfrm>
            <a:off x="8446586" y="3747050"/>
            <a:ext cx="3200400" cy="74642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600" b="1" dirty="0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Fleet Operations</a:t>
            </a:r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13" name="Graphic 12" descr="Playbook with solid fill">
            <a:extLst>
              <a:ext uri="{FF2B5EF4-FFF2-40B4-BE49-F238E27FC236}">
                <a16:creationId xmlns:a16="http://schemas.microsoft.com/office/drawing/2014/main" id="{CA8BA77E-DE67-864B-D28C-738B9500F94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8263705" y="1084467"/>
            <a:ext cx="777240" cy="7772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6077469-2970-FAB9-127B-F909CACC7C6E}"/>
              </a:ext>
            </a:extLst>
          </p:cNvPr>
          <p:cNvSpPr txBox="1"/>
          <p:nvPr/>
        </p:nvSpPr>
        <p:spPr>
          <a:xfrm>
            <a:off x="8446586" y="1904269"/>
            <a:ext cx="3745413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Policy Creation &amp; Evalu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Vehicle Acquisition Strateg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VMF Suppor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Project Managemen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Supplier/Vendor Liaison</a:t>
            </a:r>
          </a:p>
          <a:p>
            <a:endParaRPr lang="en-US" dirty="0"/>
          </a:p>
        </p:txBody>
      </p:sp>
      <p:pic>
        <p:nvPicPr>
          <p:cNvPr id="19" name="Graphic 18" descr="Tools with solid fill">
            <a:extLst>
              <a:ext uri="{FF2B5EF4-FFF2-40B4-BE49-F238E27FC236}">
                <a16:creationId xmlns:a16="http://schemas.microsoft.com/office/drawing/2014/main" id="{A64A0C26-5BDF-6E9A-C032-F2B4B5A449F0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8418380" y="3785001"/>
            <a:ext cx="640080" cy="6400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EC8357F-7AD0-9F14-5EF3-4365E0E95C06}"/>
              </a:ext>
            </a:extLst>
          </p:cNvPr>
          <p:cNvSpPr txBox="1"/>
          <p:nvPr/>
        </p:nvSpPr>
        <p:spPr>
          <a:xfrm>
            <a:off x="8446585" y="4531421"/>
            <a:ext cx="3745414" cy="1524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Vehicle Maintenance &amp; Repai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Manage Maintenance Cos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Responsible for Vehicles Life Cycl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Safety &amp; Environmental Compliance</a:t>
            </a:r>
          </a:p>
        </p:txBody>
      </p:sp>
      <p:pic>
        <p:nvPicPr>
          <p:cNvPr id="48" name="Graphic 47" descr="Office worker male with solid fill">
            <a:extLst>
              <a:ext uri="{FF2B5EF4-FFF2-40B4-BE49-F238E27FC236}">
                <a16:creationId xmlns:a16="http://schemas.microsoft.com/office/drawing/2014/main" id="{6F0AFA2E-9754-EED5-2D3E-FBA041D8B71A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8994598" y="3704048"/>
            <a:ext cx="777240" cy="7772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189826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1339BE8-FC27-3F6A-85FF-37145519C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2"/>
            <a:ext cx="10515600" cy="700844"/>
          </a:xfrm>
        </p:spPr>
        <p:txBody>
          <a:bodyPr/>
          <a:lstStyle/>
          <a:p>
            <a:r>
              <a:rPr lang="en-US" dirty="0"/>
              <a:t>Facilities and Fleet Management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0301059-71EF-4712-67E2-B0E1791AEB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131" y="847509"/>
            <a:ext cx="11449737" cy="4987234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400" dirty="0">
                <a:latin typeface="Arial"/>
                <a:cs typeface="Arial"/>
              </a:rPr>
              <a:t>New VP organization announced March 28 – Fleet Management &amp; Electrification Strategy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400" dirty="0">
              <a:latin typeface="Arial"/>
              <a:cs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20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000" dirty="0">
                <a:latin typeface="Arial"/>
                <a:cs typeface="Arial"/>
              </a:rPr>
              <a:t>	</a:t>
            </a:r>
            <a:r>
              <a:rPr lang="en-US" b="1" dirty="0">
                <a:solidFill>
                  <a:schemeClr val="accent3">
                    <a:lumMod val="75000"/>
                  </a:schemeClr>
                </a:solidFill>
                <a:latin typeface="Arial"/>
                <a:cs typeface="Arial"/>
              </a:rPr>
              <a:t>Fleet Management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b="1" dirty="0">
              <a:solidFill>
                <a:schemeClr val="accent3">
                  <a:lumMod val="75000"/>
                </a:schemeClr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>
                <a:solidFill>
                  <a:schemeClr val="accent3">
                    <a:lumMod val="75000"/>
                  </a:schemeClr>
                </a:solidFill>
                <a:latin typeface="Arial"/>
                <a:cs typeface="Arial"/>
              </a:rPr>
              <a:t>	NGDV Project Management Office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b="1" dirty="0">
              <a:solidFill>
                <a:schemeClr val="accent3">
                  <a:lumMod val="75000"/>
                </a:schemeClr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>
                <a:solidFill>
                  <a:schemeClr val="accent3">
                    <a:lumMod val="75000"/>
                  </a:schemeClr>
                </a:solidFill>
                <a:latin typeface="Arial"/>
                <a:cs typeface="Arial"/>
              </a:rPr>
              <a:t>	Facilitie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400" dirty="0">
              <a:latin typeface="Arial"/>
              <a:cs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24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4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400" dirty="0">
                <a:latin typeface="Arial"/>
                <a:cs typeface="Arial"/>
              </a:rPr>
              <a:t>Aligns all vehicle related activities under one </a:t>
            </a:r>
            <a:r>
              <a:rPr lang="en-US" dirty="0">
                <a:latin typeface="Arial"/>
                <a:cs typeface="Arial"/>
              </a:rPr>
              <a:t>Sr. </a:t>
            </a:r>
            <a:r>
              <a:rPr lang="en-US" sz="2400" dirty="0">
                <a:latin typeface="Arial"/>
                <a:cs typeface="Arial"/>
              </a:rPr>
              <a:t>Vice President who reports directly to the PMG</a:t>
            </a:r>
            <a:endParaRPr lang="en-US" sz="20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000" dirty="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400" dirty="0">
              <a:latin typeface="Arial"/>
              <a:cs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9A65444-AFBC-A4F7-BC85-AB4E9550F5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6511" y="1725851"/>
            <a:ext cx="4901608" cy="28517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Graphic 3" descr="Playbook with solid fill">
            <a:extLst>
              <a:ext uri="{FF2B5EF4-FFF2-40B4-BE49-F238E27FC236}">
                <a16:creationId xmlns:a16="http://schemas.microsoft.com/office/drawing/2014/main" id="{57E069B4-FA29-A03E-FF28-36CB5079BAD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1131" y="2092236"/>
            <a:ext cx="731520" cy="731520"/>
          </a:xfrm>
          <a:prstGeom prst="rect">
            <a:avLst/>
          </a:prstGeom>
        </p:spPr>
      </p:pic>
      <p:pic>
        <p:nvPicPr>
          <p:cNvPr id="10" name="Graphic 9" descr="Electric car with solid fill">
            <a:extLst>
              <a:ext uri="{FF2B5EF4-FFF2-40B4-BE49-F238E27FC236}">
                <a16:creationId xmlns:a16="http://schemas.microsoft.com/office/drawing/2014/main" id="{B7BF8F8A-0F52-1589-1218-4FAA5B954B5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1131" y="2812082"/>
            <a:ext cx="731520" cy="731520"/>
          </a:xfrm>
          <a:prstGeom prst="rect">
            <a:avLst/>
          </a:prstGeom>
        </p:spPr>
      </p:pic>
      <p:pic>
        <p:nvPicPr>
          <p:cNvPr id="12" name="Graphic 11" descr="Architecture with solid fill">
            <a:extLst>
              <a:ext uri="{FF2B5EF4-FFF2-40B4-BE49-F238E27FC236}">
                <a16:creationId xmlns:a16="http://schemas.microsoft.com/office/drawing/2014/main" id="{53087BA1-C8DB-F24A-16FA-F5BE0F7C4AB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71131" y="3573894"/>
            <a:ext cx="731520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1876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F8507F6B-A37C-EBA8-C816-3EF9E8DCAAA1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5000"/>
          </a:blip>
          <a:stretch>
            <a:fillRect/>
          </a:stretch>
        </p:blipFill>
        <p:spPr>
          <a:xfrm>
            <a:off x="32431" y="0"/>
            <a:ext cx="12192000" cy="6118528"/>
          </a:xfrm>
          <a:prstGeom prst="rect">
            <a:avLst/>
          </a:prstGeom>
        </p:spPr>
      </p:pic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A51E2DB-5928-49D4-9185-2D4191F12D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51E2DB-5928-49D4-9185-2D4191F12D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DBB2FE9-0635-4D70-8A5C-083A4E1FA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62" y="208818"/>
            <a:ext cx="11471275" cy="332399"/>
          </a:xfrm>
        </p:spPr>
        <p:txBody>
          <a:bodyPr vert="horz">
            <a:normAutofit fontScale="90000"/>
          </a:bodyPr>
          <a:lstStyle/>
          <a:p>
            <a:pPr lvl="0"/>
            <a:r>
              <a:rPr lang="en-US" dirty="0"/>
              <a:t>Fleet Management &amp; Electrification Strategy</a:t>
            </a:r>
          </a:p>
        </p:txBody>
      </p:sp>
      <p:graphicFrame>
        <p:nvGraphicFramePr>
          <p:cNvPr id="14" name="Diagram 13">
            <a:extLst>
              <a:ext uri="{FF2B5EF4-FFF2-40B4-BE49-F238E27FC236}">
                <a16:creationId xmlns:a16="http://schemas.microsoft.com/office/drawing/2014/main" id="{355AEADB-5FD9-4DAC-7933-B09729296DE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8086007"/>
              </p:ext>
            </p:extLst>
          </p:nvPr>
        </p:nvGraphicFramePr>
        <p:xfrm>
          <a:off x="360363" y="628369"/>
          <a:ext cx="11471274" cy="53078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188983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1529B77-D4C2-DB17-292E-50495DB15A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4936" y="1354041"/>
            <a:ext cx="5349784" cy="3286925"/>
          </a:xfrm>
        </p:spPr>
        <p:txBody>
          <a:bodyPr/>
          <a:lstStyle/>
          <a:p>
            <a:r>
              <a:rPr lang="en-US" dirty="0"/>
              <a:t>Vehicle Acquisition &amp; Deployment</a:t>
            </a:r>
          </a:p>
        </p:txBody>
      </p:sp>
    </p:spTree>
    <p:extLst>
      <p:ext uri="{BB962C8B-B14F-4D97-AF65-F5344CB8AC3E}">
        <p14:creationId xmlns:p14="http://schemas.microsoft.com/office/powerpoint/2010/main" val="319115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329BE54-C2F0-28AF-F533-AE8EA7D8BDCF}"/>
              </a:ext>
            </a:extLst>
          </p:cNvPr>
          <p:cNvSpPr/>
          <p:nvPr/>
        </p:nvSpPr>
        <p:spPr>
          <a:xfrm>
            <a:off x="-18854" y="-9424"/>
            <a:ext cx="12210854" cy="607711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CB870B-FB84-57C4-65E4-6281E1B188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Need for a Purpose Built RHD Delivery Vehicle</a:t>
            </a:r>
          </a:p>
        </p:txBody>
      </p:sp>
      <p:pic>
        <p:nvPicPr>
          <p:cNvPr id="11" name="Graphic 10" descr="Tools with solid fill">
            <a:extLst>
              <a:ext uri="{FF2B5EF4-FFF2-40B4-BE49-F238E27FC236}">
                <a16:creationId xmlns:a16="http://schemas.microsoft.com/office/drawing/2014/main" id="{FD062715-3A47-3A47-8259-E405919FA8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5555" y="4672140"/>
            <a:ext cx="658797" cy="658797"/>
          </a:xfrm>
          <a:prstGeom prst="rect">
            <a:avLst/>
          </a:prstGeom>
        </p:spPr>
      </p:pic>
      <p:pic>
        <p:nvPicPr>
          <p:cNvPr id="13" name="Graphic 12" descr="Drawing Figure with solid fill">
            <a:extLst>
              <a:ext uri="{FF2B5EF4-FFF2-40B4-BE49-F238E27FC236}">
                <a16:creationId xmlns:a16="http://schemas.microsoft.com/office/drawing/2014/main" id="{884CC674-E727-9DBE-3D6B-7031C8A96D7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78870" y="3446435"/>
            <a:ext cx="729448" cy="729448"/>
          </a:xfrm>
          <a:prstGeom prst="rect">
            <a:avLst/>
          </a:prstGeom>
        </p:spPr>
      </p:pic>
      <p:pic>
        <p:nvPicPr>
          <p:cNvPr id="17" name="Graphic 16" descr="Steering Wheel with solid fill">
            <a:extLst>
              <a:ext uri="{FF2B5EF4-FFF2-40B4-BE49-F238E27FC236}">
                <a16:creationId xmlns:a16="http://schemas.microsoft.com/office/drawing/2014/main" id="{CD32BE88-BAA0-0380-841F-F40F69778CF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05409" y="996193"/>
            <a:ext cx="914400" cy="9144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C7417ED-91EB-C0C9-7827-4112743E52DA}"/>
              </a:ext>
            </a:extLst>
          </p:cNvPr>
          <p:cNvSpPr txBox="1"/>
          <p:nvPr/>
        </p:nvSpPr>
        <p:spPr>
          <a:xfrm>
            <a:off x="1619809" y="1239609"/>
            <a:ext cx="3130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HD requirement</a:t>
            </a:r>
          </a:p>
        </p:txBody>
      </p:sp>
      <p:pic>
        <p:nvPicPr>
          <p:cNvPr id="20" name="Graphic 19" descr="Supply And Demand with solid fill">
            <a:extLst>
              <a:ext uri="{FF2B5EF4-FFF2-40B4-BE49-F238E27FC236}">
                <a16:creationId xmlns:a16="http://schemas.microsoft.com/office/drawing/2014/main" id="{5545922D-BF08-5443-4BAB-EDEA0032F09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97885" y="2119343"/>
            <a:ext cx="914400" cy="9144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ED192F2-607F-B0E0-B816-FDC9BB114D04}"/>
              </a:ext>
            </a:extLst>
          </p:cNvPr>
          <p:cNvSpPr txBox="1"/>
          <p:nvPr/>
        </p:nvSpPr>
        <p:spPr>
          <a:xfrm>
            <a:off x="1712285" y="2261492"/>
            <a:ext cx="313059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mited COT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ailabili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80989B0-06E6-50E7-0BE7-38A8F4261360}"/>
              </a:ext>
            </a:extLst>
          </p:cNvPr>
          <p:cNvSpPr txBox="1"/>
          <p:nvPr/>
        </p:nvSpPr>
        <p:spPr>
          <a:xfrm>
            <a:off x="1619809" y="3408876"/>
            <a:ext cx="313059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ique ergonomics for curb-line deliver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8BA21A1-F9B7-4C12-0E54-2D839A7BD775}"/>
              </a:ext>
            </a:extLst>
          </p:cNvPr>
          <p:cNvSpPr txBox="1"/>
          <p:nvPr/>
        </p:nvSpPr>
        <p:spPr>
          <a:xfrm>
            <a:off x="1628489" y="4586039"/>
            <a:ext cx="313059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urability to enable 20 years of servic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0093857-EB3A-A707-8804-23CB66E4BBAA}"/>
              </a:ext>
            </a:extLst>
          </p:cNvPr>
          <p:cNvGrpSpPr/>
          <p:nvPr/>
        </p:nvGrpSpPr>
        <p:grpSpPr>
          <a:xfrm>
            <a:off x="4611970" y="1139336"/>
            <a:ext cx="7280498" cy="4191601"/>
            <a:chOff x="4648916" y="1139336"/>
            <a:chExt cx="7280498" cy="4191601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E0ED209-40B0-6792-36E7-FBF1D7518E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648916" y="1139336"/>
              <a:ext cx="7280498" cy="4191601"/>
            </a:xfrm>
            <a:prstGeom prst="rect">
              <a:avLst/>
            </a:prstGeom>
            <a:solidFill>
              <a:srgbClr val="F2F2F2"/>
            </a:solidFill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80242E7-ACE7-8AC0-8AAC-87C2E23A4959}"/>
                </a:ext>
              </a:extLst>
            </p:cNvPr>
            <p:cNvSpPr/>
            <p:nvPr/>
          </p:nvSpPr>
          <p:spPr>
            <a:xfrm>
              <a:off x="4648916" y="5126182"/>
              <a:ext cx="652757" cy="20475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700465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E2CFBF0-96BB-99BF-A1E2-E5830B517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The Journey to the New USPS Purpose Built Vehicle</a:t>
            </a: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B50821FB-CD53-595F-018A-3A7B4A5C84B9}"/>
              </a:ext>
            </a:extLst>
          </p:cNvPr>
          <p:cNvSpPr/>
          <p:nvPr/>
        </p:nvSpPr>
        <p:spPr>
          <a:xfrm>
            <a:off x="7344586" y="589846"/>
            <a:ext cx="2258813" cy="642021"/>
          </a:xfrm>
          <a:prstGeom prst="chevron">
            <a:avLst>
              <a:gd name="adj" fmla="val 56667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  <a:latin typeface="Arial" panose="020B0604020202020204"/>
              </a:rPr>
              <a:t>Jan 2020- Feb 2021</a:t>
            </a: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08A477E1-4E63-E20C-CAD5-4FB256219FD8}"/>
              </a:ext>
            </a:extLst>
          </p:cNvPr>
          <p:cNvSpPr/>
          <p:nvPr/>
        </p:nvSpPr>
        <p:spPr>
          <a:xfrm>
            <a:off x="362766" y="582719"/>
            <a:ext cx="2579633" cy="642021"/>
          </a:xfrm>
          <a:prstGeom prst="chevron">
            <a:avLst>
              <a:gd name="adj" fmla="val 56667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  <a:latin typeface="Arial" panose="020B0604020202020204"/>
              </a:rPr>
              <a:t>July 2014 – July 2015</a:t>
            </a: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5048FE2A-6E0E-E4AC-C192-55EB29D6DEA6}"/>
              </a:ext>
            </a:extLst>
          </p:cNvPr>
          <p:cNvSpPr/>
          <p:nvPr/>
        </p:nvSpPr>
        <p:spPr>
          <a:xfrm>
            <a:off x="2686797" y="582719"/>
            <a:ext cx="2579633" cy="642021"/>
          </a:xfrm>
          <a:prstGeom prst="chevron">
            <a:avLst>
              <a:gd name="adj" fmla="val 56667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  <a:latin typeface="Arial" panose="020B0604020202020204"/>
              </a:rPr>
              <a:t>Sep 2016 – Dec 2019</a:t>
            </a: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1C2C3D39-D3B0-273A-99A1-66FCCD601625}"/>
              </a:ext>
            </a:extLst>
          </p:cNvPr>
          <p:cNvSpPr/>
          <p:nvPr/>
        </p:nvSpPr>
        <p:spPr>
          <a:xfrm>
            <a:off x="5015692" y="582719"/>
            <a:ext cx="2579633" cy="642021"/>
          </a:xfrm>
          <a:prstGeom prst="chevron">
            <a:avLst>
              <a:gd name="adj" fmla="val 56667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  <a:latin typeface="Arial" panose="020B0604020202020204"/>
              </a:rPr>
              <a:t>Jan 2020 - Feb 2021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02B1AB9-1138-4902-41E0-72C3F21508DC}"/>
              </a:ext>
            </a:extLst>
          </p:cNvPr>
          <p:cNvSpPr/>
          <p:nvPr/>
        </p:nvSpPr>
        <p:spPr>
          <a:xfrm>
            <a:off x="9337044" y="1284185"/>
            <a:ext cx="2182768" cy="211204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600"/>
              </a:spcAft>
            </a:pPr>
            <a:r>
              <a:rPr lang="en-US" sz="1400" b="1" i="1" dirty="0">
                <a:solidFill>
                  <a:prstClr val="black"/>
                </a:solidFill>
                <a:latin typeface="Arial" panose="020B0604020202020204"/>
              </a:rPr>
              <a:t>Production Planning &amp; Acquisi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Production Vehicle Design and Bui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Deployment Plan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Production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Deploy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31" name="Arrow: Chevron 30">
            <a:extLst>
              <a:ext uri="{FF2B5EF4-FFF2-40B4-BE49-F238E27FC236}">
                <a16:creationId xmlns:a16="http://schemas.microsoft.com/office/drawing/2014/main" id="{61A31AD1-7925-C181-9337-797AC1F6F23D}"/>
              </a:ext>
            </a:extLst>
          </p:cNvPr>
          <p:cNvSpPr/>
          <p:nvPr/>
        </p:nvSpPr>
        <p:spPr>
          <a:xfrm>
            <a:off x="9331329" y="582719"/>
            <a:ext cx="2579633" cy="642021"/>
          </a:xfrm>
          <a:prstGeom prst="chevron">
            <a:avLst>
              <a:gd name="adj" fmla="val 56667"/>
            </a:avLst>
          </a:prstGeom>
          <a:gradFill flip="none" rotWithShape="1">
            <a:gsLst>
              <a:gs pos="0">
                <a:srgbClr val="FFC000"/>
              </a:gs>
              <a:gs pos="68000">
                <a:srgbClr val="92D050"/>
              </a:gs>
              <a:gs pos="100000">
                <a:srgbClr val="00B050"/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  <a:latin typeface="Arial" panose="020B0604020202020204"/>
              </a:rPr>
              <a:t>Feb 2021 – On goin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7BA31F7-3235-21E3-FD12-4872CF7F06AA}"/>
              </a:ext>
            </a:extLst>
          </p:cNvPr>
          <p:cNvSpPr/>
          <p:nvPr/>
        </p:nvSpPr>
        <p:spPr>
          <a:xfrm>
            <a:off x="423020" y="1284185"/>
            <a:ext cx="2182767" cy="211204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600"/>
              </a:spcAft>
            </a:pPr>
            <a:r>
              <a:rPr lang="en-US" sz="1400" b="1" i="1" dirty="0">
                <a:solidFill>
                  <a:prstClr val="black"/>
                </a:solidFill>
                <a:latin typeface="Arial" panose="020B0604020202020204"/>
              </a:rPr>
              <a:t>Acquisition Planning</a:t>
            </a:r>
          </a:p>
          <a:p>
            <a:pPr marL="285750" indent="-285750" defTabSz="1087438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NGDV Requirements Analysis</a:t>
            </a:r>
          </a:p>
          <a:p>
            <a:pPr marL="285750" indent="-285750" defTabSz="1087438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Emerging Technology Research</a:t>
            </a:r>
          </a:p>
          <a:p>
            <a:pPr marL="285750" indent="-285750" defTabSz="1087438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Fleet renewal and replacement analysis</a:t>
            </a:r>
          </a:p>
          <a:p>
            <a:pPr marL="285750" indent="-285750" defTabSz="1087438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Prototype RFI / RFP Develo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>
              <a:solidFill>
                <a:prstClr val="black"/>
              </a:solidFill>
              <a:latin typeface="Arial" panose="020B0604020202020204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11D640B-CBBE-9AD2-7224-DD38AF34A1E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1065" y="3712788"/>
            <a:ext cx="2070446" cy="201168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5E8F758-9064-6DEC-EDAE-43C4A633654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32701" y="3712788"/>
            <a:ext cx="2882310" cy="201168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0A78BD25-B478-EF7D-37BD-8DA90CB2263F}"/>
              </a:ext>
            </a:extLst>
          </p:cNvPr>
          <p:cNvSpPr/>
          <p:nvPr/>
        </p:nvSpPr>
        <p:spPr>
          <a:xfrm>
            <a:off x="2713765" y="1285931"/>
            <a:ext cx="2182767" cy="211204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600"/>
              </a:spcAft>
            </a:pPr>
            <a:r>
              <a:rPr lang="en-US" sz="1400" b="1" i="1" dirty="0">
                <a:solidFill>
                  <a:prstClr val="black"/>
                </a:solidFill>
                <a:latin typeface="Arial" panose="020B0604020202020204"/>
              </a:rPr>
              <a:t>Protype Planning</a:t>
            </a: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Supplier Confer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Supplier Sel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Prototype Proposal Evaluation and Contract Awa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ECF5DE8-6089-0240-9647-C292714FFB94}"/>
              </a:ext>
            </a:extLst>
          </p:cNvPr>
          <p:cNvSpPr/>
          <p:nvPr/>
        </p:nvSpPr>
        <p:spPr>
          <a:xfrm>
            <a:off x="7344586" y="1284185"/>
            <a:ext cx="1884470" cy="211204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600"/>
              </a:spcAft>
            </a:pPr>
            <a:r>
              <a:rPr lang="en-US" sz="1400" b="1" i="1" dirty="0">
                <a:solidFill>
                  <a:prstClr val="black"/>
                </a:solidFill>
                <a:latin typeface="Arial" panose="020B0604020202020204"/>
              </a:rPr>
              <a:t>Proposal Evalu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Proposal Evalu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Contract Award</a:t>
            </a:r>
          </a:p>
          <a:p>
            <a:endParaRPr lang="en-US" sz="1200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3D850C-C2EC-76C2-2AD1-E065DFA29681}"/>
              </a:ext>
            </a:extLst>
          </p:cNvPr>
          <p:cNvSpPr/>
          <p:nvPr/>
        </p:nvSpPr>
        <p:spPr>
          <a:xfrm>
            <a:off x="5042093" y="1285932"/>
            <a:ext cx="2182767" cy="211065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0" rtlCol="0" anchor="t"/>
          <a:lstStyle/>
          <a:p>
            <a:pPr algn="ctr">
              <a:spcAft>
                <a:spcPts val="600"/>
              </a:spcAft>
            </a:pPr>
            <a:r>
              <a:rPr lang="en-US" sz="1400" b="1" i="1" dirty="0">
                <a:solidFill>
                  <a:prstClr val="black"/>
                </a:solidFill>
                <a:latin typeface="Arial" panose="020B0604020202020204"/>
              </a:rPr>
              <a:t>Prototype Development &amp; Evalu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Prototype Design, Build &amp; 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Mixed Fleet Strategy and Total Cost of Ownership Analysi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89B4F8E-E1BA-BC4E-8251-3E7D1BB52B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58302" y="3712788"/>
            <a:ext cx="2301573" cy="20116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B3647DF-68DA-96F7-9D45-F3D9FEB9C4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9483" y="3712788"/>
            <a:ext cx="2427629" cy="201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70303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959AAB-55DE-40C1-93F5-74C186EFCD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ehicle Acquisition Plan Through 2028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4B4E97-F52F-4DDB-B842-F464B6005B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643" y="6463091"/>
            <a:ext cx="1142396" cy="235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32838C-5203-4A13-8D33-AC09A091C092}" type="datetime1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9/202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790476F6-D14C-2F9A-B9F6-C7122C03B1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5310949"/>
              </p:ext>
            </p:extLst>
          </p:nvPr>
        </p:nvGraphicFramePr>
        <p:xfrm>
          <a:off x="371476" y="757222"/>
          <a:ext cx="11184800" cy="5265942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236960">
                  <a:extLst>
                    <a:ext uri="{9D8B030D-6E8A-4147-A177-3AD203B41FA5}">
                      <a16:colId xmlns:a16="http://schemas.microsoft.com/office/drawing/2014/main" val="4030633628"/>
                    </a:ext>
                  </a:extLst>
                </a:gridCol>
                <a:gridCol w="2236960">
                  <a:extLst>
                    <a:ext uri="{9D8B030D-6E8A-4147-A177-3AD203B41FA5}">
                      <a16:colId xmlns:a16="http://schemas.microsoft.com/office/drawing/2014/main" val="2627210270"/>
                    </a:ext>
                  </a:extLst>
                </a:gridCol>
                <a:gridCol w="2236960">
                  <a:extLst>
                    <a:ext uri="{9D8B030D-6E8A-4147-A177-3AD203B41FA5}">
                      <a16:colId xmlns:a16="http://schemas.microsoft.com/office/drawing/2014/main" val="3359433453"/>
                    </a:ext>
                  </a:extLst>
                </a:gridCol>
                <a:gridCol w="2236960">
                  <a:extLst>
                    <a:ext uri="{9D8B030D-6E8A-4147-A177-3AD203B41FA5}">
                      <a16:colId xmlns:a16="http://schemas.microsoft.com/office/drawing/2014/main" val="765951786"/>
                    </a:ext>
                  </a:extLst>
                </a:gridCol>
                <a:gridCol w="2236960">
                  <a:extLst>
                    <a:ext uri="{9D8B030D-6E8A-4147-A177-3AD203B41FA5}">
                      <a16:colId xmlns:a16="http://schemas.microsoft.com/office/drawing/2014/main" val="3726153146"/>
                    </a:ext>
                  </a:extLst>
                </a:gridCol>
              </a:tblGrid>
              <a:tr h="822960">
                <a:tc>
                  <a:txBody>
                    <a:bodyPr/>
                    <a:lstStyle/>
                    <a:p>
                      <a:r>
                        <a:rPr lang="en-US" dirty="0"/>
                        <a:t>NGDV (RH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ord E-Transit (LH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am </a:t>
                      </a:r>
                      <a:r>
                        <a:rPr lang="en-US" dirty="0" err="1"/>
                        <a:t>ProMaster</a:t>
                      </a:r>
                      <a:r>
                        <a:rPr lang="en-US" dirty="0"/>
                        <a:t> (LH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ercedes Metris (RH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DB (RH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9569484"/>
                  </a:ext>
                </a:extLst>
              </a:tr>
              <a:tr h="142635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087191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BEV: 45,000</a:t>
                      </a:r>
                    </a:p>
                    <a:p>
                      <a:pPr algn="l"/>
                      <a:r>
                        <a:rPr lang="en-US" dirty="0"/>
                        <a:t>ICE AWD: 5,000</a:t>
                      </a:r>
                    </a:p>
                    <a:p>
                      <a:pPr algn="l"/>
                      <a:r>
                        <a:rPr lang="en-US" dirty="0"/>
                        <a:t>ICE 2WD: 1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BEV: 9,2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ICE: 9,2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ICE: 14,5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TB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42695686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Deployment Start: June 20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Deployment Start: Dec 20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Deployment Start: Oct 20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Deployment Start: Ongo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TB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96964568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Replace LLV/FFVs on routes with &gt;=21 curbside sto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Replace LLV/FFs on routes with &lt;21curbside sto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Replace LLV/FFs on routes with &lt;21curbside sto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Replace LLV/FFVs on routes with &gt;=21 curbside sto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Replace LLV/FFVs on routes with &gt;=21 curbside stops and height restricted rout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47985538"/>
                  </a:ext>
                </a:extLst>
              </a:tr>
            </a:tbl>
          </a:graphicData>
        </a:graphic>
      </p:graphicFrame>
      <p:pic>
        <p:nvPicPr>
          <p:cNvPr id="11" name="Picture 8" descr="Oshkosh's NGDV Mail Van Looks Incredibly Dorky for a Reason">
            <a:extLst>
              <a:ext uri="{FF2B5EF4-FFF2-40B4-BE49-F238E27FC236}">
                <a16:creationId xmlns:a16="http://schemas.microsoft.com/office/drawing/2014/main" id="{F749F359-9B56-7AD2-9523-09CFBC24959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>
                        <a14:foregroundMark x1="35938" y1="30556" x2="54688" y2="31163"/>
                        <a14:foregroundMark x1="54688" y1="31163" x2="65869" y2="30556"/>
                        <a14:foregroundMark x1="45361" y1="26736" x2="60742" y2="25955"/>
                        <a14:foregroundMark x1="64599" y1="25507" x2="65869" y2="25174"/>
                        <a14:foregroundMark x1="62891" y1="25955" x2="64599" y2="25507"/>
                        <a14:foregroundMark x1="82959" y1="64670" x2="76953" y2="61632"/>
                        <a14:foregroundMark x1="87207" y1="75347" x2="74414" y2="59375"/>
                        <a14:foregroundMark x1="88086" y1="75347" x2="83789" y2="64670"/>
                        <a14:foregroundMark x1="84668" y1="66233" x2="84668" y2="66233"/>
                        <a14:foregroundMark x1="80811" y1="62413" x2="80811" y2="62413"/>
                        <a14:foregroundMark x1="84612" y1="60290" x2="84541" y2="59974"/>
                        <a14:foregroundMark x1="84677" y1="60580" x2="84612" y2="60290"/>
                        <a14:foregroundMark x1="86816" y1="70052" x2="84677" y2="60580"/>
                        <a14:foregroundMark x1="16803" y1="20580" x2="32790" y2="22319"/>
                        <a14:foregroundMark x1="32790" y1="22319" x2="44861" y2="21449"/>
                        <a14:foregroundMark x1="44861" y1="21449" x2="51713" y2="21739"/>
                        <a14:foregroundMark x1="51713" y1="21739" x2="61827" y2="21449"/>
                        <a14:backgroundMark x1="65905" y1="25507" x2="65905" y2="25507"/>
                        <a14:backgroundMark x1="65742" y1="24928" x2="65742" y2="24928"/>
                        <a14:backgroundMark x1="84339" y1="60290" x2="84339" y2="60290"/>
                        <a14:backgroundMark x1="84666" y1="58841" x2="84666" y2="58841"/>
                        <a14:backgroundMark x1="84666" y1="60580" x2="84666" y2="60580"/>
                        <a14:backgroundMark x1="84339" y1="58841" x2="84339" y2="58841"/>
                        <a14:backgroundMark x1="84666" y1="60290" x2="84666" y2="60290"/>
                        <a14:backgroundMark x1="84666" y1="59710" x2="84502" y2="58551"/>
                        <a14:backgroundMark x1="84176" y1="58551" x2="84502" y2="60000"/>
                        <a14:backgroundMark x1="90049" y1="70435" x2="89396" y2="6956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269" t="16678" r="9249" b="13621"/>
          <a:stretch/>
        </p:blipFill>
        <p:spPr bwMode="auto">
          <a:xfrm>
            <a:off x="481087" y="1801208"/>
            <a:ext cx="1993543" cy="1009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0A907199-CDE4-42F6-B951-0D2540A28BD7" descr="IMG_4965.png">
            <a:extLst>
              <a:ext uri="{FF2B5EF4-FFF2-40B4-BE49-F238E27FC236}">
                <a16:creationId xmlns:a16="http://schemas.microsoft.com/office/drawing/2014/main" id="{9BD69254-D6F0-23AC-FF61-3E18EDB614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3372" y="1950549"/>
            <a:ext cx="1863235" cy="860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4" descr="U.S. Postal Service Struggles To Deliver Mail After Holidays Amid Pandemic  : NPR">
            <a:extLst>
              <a:ext uri="{FF2B5EF4-FFF2-40B4-BE49-F238E27FC236}">
                <a16:creationId xmlns:a16="http://schemas.microsoft.com/office/drawing/2014/main" id="{646DB8F9-F6C6-5377-89EB-C1335FAB11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757" b="82072" l="6803" r="97959">
                        <a14:foregroundMark x1="15193" y1="12749" x2="67347" y2="16335"/>
                        <a14:foregroundMark x1="58957" y1="11952" x2="42177" y2="11155"/>
                        <a14:foregroundMark x1="10658" y1="15139" x2="7029" y2="52590"/>
                        <a14:foregroundMark x1="7029" y1="52590" x2="7029" y2="52590"/>
                        <a14:foregroundMark x1="7029" y1="65339" x2="14059" y2="63745"/>
                        <a14:foregroundMark x1="14059" y1="63745" x2="26984" y2="68127"/>
                        <a14:foregroundMark x1="26984" y1="68127" x2="30385" y2="71713"/>
                        <a14:foregroundMark x1="24490" y1="76096" x2="21315" y2="74900"/>
                        <a14:foregroundMark x1="19501" y1="74502" x2="27438" y2="77291"/>
                        <a14:foregroundMark x1="34921" y1="73307" x2="69161" y2="71315"/>
                        <a14:foregroundMark x1="60544" y1="50598" x2="70295" y2="52191"/>
                        <a14:foregroundMark x1="71429" y1="33068" x2="80499" y2="41434"/>
                        <a14:foregroundMark x1="96825" y1="68526" x2="91610" y2="54582"/>
                        <a14:foregroundMark x1="94785" y1="72510" x2="84127" y2="73307"/>
                        <a14:foregroundMark x1="84127" y1="73307" x2="83673" y2="75299"/>
                        <a14:foregroundMark x1="80726" y1="66534" x2="90023" y2="60956"/>
                        <a14:foregroundMark x1="98413" y1="73307" x2="91156" y2="79283"/>
                        <a14:foregroundMark x1="91156" y1="79283" x2="85714" y2="81275"/>
                        <a14:foregroundMark x1="80952" y1="63347" x2="73696" y2="76096"/>
                        <a14:foregroundMark x1="73696" y1="76096" x2="53515" y2="81275"/>
                        <a14:foregroundMark x1="53515" y1="81275" x2="46712" y2="79283"/>
                        <a14:foregroundMark x1="36735" y1="77291" x2="46939" y2="72510"/>
                        <a14:foregroundMark x1="48073" y1="76494" x2="55556" y2="76096"/>
                        <a14:foregroundMark x1="74603" y1="81275" x2="34240" y2="80080"/>
                        <a14:foregroundMark x1="18594" y1="77291" x2="18367" y2="82072"/>
                        <a14:foregroundMark x1="93424" y1="51793" x2="94104" y2="52191"/>
                        <a14:foregroundMark x1="95682" y1="56427" x2="95238" y2="55777"/>
                        <a14:foregroundMark x1="97959" y1="59761" x2="97223" y2="58684"/>
                        <a14:foregroundMark x1="7483" y1="45020" x2="6803" y2="39841"/>
                        <a14:backgroundMark x1="98639" y1="54980" x2="99093" y2="57769"/>
                        <a14:backgroundMark x1="86848" y1="13944" x2="90703" y2="25100"/>
                        <a14:backgroundMark x1="80045" y1="26295" x2="80045" y2="26295"/>
                        <a14:backgroundMark x1="78685" y1="26295" x2="78685" y2="26295"/>
                        <a14:backgroundMark x1="97506" y1="82869" x2="98413" y2="812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604" t="7586" b="13467"/>
          <a:stretch/>
        </p:blipFill>
        <p:spPr bwMode="auto">
          <a:xfrm>
            <a:off x="5079147" y="1978703"/>
            <a:ext cx="1769457" cy="832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 descr="A white van with a logo on the side&#10;&#10;Description automatically generated with low confidence">
            <a:extLst>
              <a:ext uri="{FF2B5EF4-FFF2-40B4-BE49-F238E27FC236}">
                <a16:creationId xmlns:a16="http://schemas.microsoft.com/office/drawing/2014/main" id="{DD2E735E-EE0D-A06A-B263-F35A0ADCA6B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416590" y="2164856"/>
            <a:ext cx="1654004" cy="646331"/>
          </a:xfrm>
          <a:prstGeom prst="rect">
            <a:avLst/>
          </a:prstGeom>
        </p:spPr>
      </p:pic>
      <p:pic>
        <p:nvPicPr>
          <p:cNvPr id="5" name="Graphic 4" descr="Delivery with solid fill">
            <a:extLst>
              <a:ext uri="{FF2B5EF4-FFF2-40B4-BE49-F238E27FC236}">
                <a16:creationId xmlns:a16="http://schemas.microsoft.com/office/drawing/2014/main" id="{96F37309-2D4B-F7CD-1077-F0EEAF81362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68628" y="1309501"/>
            <a:ext cx="1993392" cy="1993392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0165998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0B460A-1F1B-40EB-16C5-2D217EAF59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ployment at Network Modernization Facilitie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B0A0C3-F126-E55D-450C-98E0AE8AE8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5" y="1133475"/>
            <a:ext cx="8258175" cy="4692991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Deployment of BEVs will complement roll-out of Sorting and Delivery Centers (S&amp;DCs) nationwid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05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Accompanying the modernization of delivery operations with modernization of the delivery fle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05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S&amp;DCs are more likely to support the power and infrastructure needs required by an electric fleet </a:t>
            </a:r>
          </a:p>
          <a:p>
            <a:pPr marL="799963" lvl="1" indent="-342900">
              <a:buFont typeface="Arial" panose="020B0604020202020204" pitchFamily="34" charset="0"/>
              <a:buChar char="•"/>
            </a:pPr>
            <a:r>
              <a:rPr lang="en-US" sz="2000"/>
              <a:t>less infrastructure upgrades required to deploy</a:t>
            </a:r>
          </a:p>
          <a:p>
            <a:pPr marL="799963" lvl="1" indent="-342900">
              <a:buFont typeface="Arial" panose="020B0604020202020204" pitchFamily="34" charset="0"/>
              <a:buChar char="•"/>
            </a:pPr>
            <a:endParaRPr lang="en-US" sz="105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Allows for economies of scale in infrastructure and deployment logistics vs. deploying to myriad small loc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75FA06-816F-1534-39C0-33242F0DD9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643" y="6463091"/>
            <a:ext cx="1142396" cy="235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32838C-5203-4A13-8D33-AC09A091C092}" type="datetime1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9/202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152BFE8-834F-3960-157B-1A250F23FA0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7137" t="1027" r="2290"/>
          <a:stretch/>
        </p:blipFill>
        <p:spPr>
          <a:xfrm>
            <a:off x="8858007" y="0"/>
            <a:ext cx="3324468" cy="60864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8A6946-4B4E-7108-14FF-AE90205E9F4A}"/>
              </a:ext>
            </a:extLst>
          </p:cNvPr>
          <p:cNvSpPr txBox="1"/>
          <p:nvPr/>
        </p:nvSpPr>
        <p:spPr>
          <a:xfrm>
            <a:off x="367719" y="557642"/>
            <a:ext cx="10515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V acquisitions are enabled by, and align with, network modernization initiative</a:t>
            </a:r>
          </a:p>
        </p:txBody>
      </p:sp>
    </p:spTree>
    <p:extLst>
      <p:ext uri="{BB962C8B-B14F-4D97-AF65-F5344CB8AC3E}">
        <p14:creationId xmlns:p14="http://schemas.microsoft.com/office/powerpoint/2010/main" val="37826581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vafwNFQfiORp6TRzDF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Y7pkFuQ.iDE2T69ATx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gm3OXUQfuv8Hx.kOCZ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vafwNFQfiORp6TRzDF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OKJKoSLK6TN61V8v8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USPS_Template_1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SPS_Template_1" id="{CA9B668E-9B3E-436D-9FD9-B02BD19CE699}" vid="{7EA2BAC9-198E-467F-8D47-E1D1262F9AD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9ff3933b-6b1f-43dc-acfd-42c3da4868b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9FC87E185F3A4C8B7DE8A88C929A80" ma:contentTypeVersion="13" ma:contentTypeDescription="Create a new document." ma:contentTypeScope="" ma:versionID="130b2f003b6a1e68cf9945313aac802e">
  <xsd:schema xmlns:xsd="http://www.w3.org/2001/XMLSchema" xmlns:xs="http://www.w3.org/2001/XMLSchema" xmlns:p="http://schemas.microsoft.com/office/2006/metadata/properties" xmlns:ns3="f8fa5f18-aab7-431c-a204-5a42e95a6499" xmlns:ns4="9ff3933b-6b1f-43dc-acfd-42c3da4868b5" targetNamespace="http://schemas.microsoft.com/office/2006/metadata/properties" ma:root="true" ma:fieldsID="f38cac218894ff9a84fbf3b05c287593" ns3:_="" ns4:_="">
    <xsd:import namespace="f8fa5f18-aab7-431c-a204-5a42e95a6499"/>
    <xsd:import namespace="9ff3933b-6b1f-43dc-acfd-42c3da4868b5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LengthInSeconds" minOccurs="0"/>
                <xsd:element ref="ns4:_activity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a5f18-aab7-431c-a204-5a42e95a649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f3933b-6b1f-43dc-acfd-42c3da4868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2EB0732-FB75-47AB-9521-0993FA63CE36}">
  <ds:schemaRefs>
    <ds:schemaRef ds:uri="f8fa5f18-aab7-431c-a204-5a42e95a6499"/>
    <ds:schemaRef ds:uri="http://schemas.microsoft.com/office/infopath/2007/PartnerControls"/>
    <ds:schemaRef ds:uri="http://purl.org/dc/terms/"/>
    <ds:schemaRef ds:uri="http://schemas.microsoft.com/office/2006/documentManagement/types"/>
    <ds:schemaRef ds:uri="9ff3933b-6b1f-43dc-acfd-42c3da4868b5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680FBB2-7D40-41F3-ACCC-120E8D005B0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8072E22-3E41-4018-8B73-057D785C5D1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8fa5f18-aab7-431c-a204-5a42e95a6499"/>
    <ds:schemaRef ds:uri="9ff3933b-6b1f-43dc-acfd-42c3da4868b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25</TotalTime>
  <Words>732</Words>
  <Application>Microsoft Office PowerPoint</Application>
  <PresentationFormat>Widescreen</PresentationFormat>
  <Paragraphs>156</Paragraphs>
  <Slides>1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alibri</vt:lpstr>
      <vt:lpstr>Trebuchet MS</vt:lpstr>
      <vt:lpstr>3_USPS_Template_1</vt:lpstr>
      <vt:lpstr>think-cell Slide</vt:lpstr>
      <vt:lpstr>Fleet Management Overview</vt:lpstr>
      <vt:lpstr>Snapshot of the Postal Vehicle Fleet &amp; Support</vt:lpstr>
      <vt:lpstr>Facilities and Fleet Management</vt:lpstr>
      <vt:lpstr>Fleet Management &amp; Electrification Strategy</vt:lpstr>
      <vt:lpstr>Vehicle Acquisition &amp; Deployment</vt:lpstr>
      <vt:lpstr>The Need for a Purpose Built RHD Delivery Vehicle</vt:lpstr>
      <vt:lpstr>The Journey to the New USPS Purpose Built Vehicle</vt:lpstr>
      <vt:lpstr>Vehicle Acquisition Plan Through 2028</vt:lpstr>
      <vt:lpstr>Deployment at Network Modernization Facilities </vt:lpstr>
      <vt:lpstr>Modernization Initiatives Updat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leet Management Overview</dc:title>
  <dc:creator>Powers, Tracy - Washington, DC</dc:creator>
  <cp:lastModifiedBy>Powers, Tracy - Washington, DC</cp:lastModifiedBy>
  <cp:revision>10</cp:revision>
  <dcterms:created xsi:type="dcterms:W3CDTF">2023-04-23T22:26:15Z</dcterms:created>
  <dcterms:modified xsi:type="dcterms:W3CDTF">2023-09-29T18:59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9FC87E185F3A4C8B7DE8A88C929A80</vt:lpwstr>
  </property>
</Properties>
</file>